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2" r:id="rId4"/>
    <p:sldMasterId id="2147484067" r:id="rId5"/>
  </p:sldMasterIdLst>
  <p:notesMasterIdLst>
    <p:notesMasterId r:id="rId8"/>
  </p:notesMasterIdLst>
  <p:sldIdLst>
    <p:sldId id="2046" r:id="rId6"/>
    <p:sldId id="2047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DE9222"/>
    <a:srgbClr val="FFC30D"/>
    <a:srgbClr val="3CA2BA"/>
    <a:srgbClr val="179C7D"/>
    <a:srgbClr val="FFFFFF"/>
    <a:srgbClr val="E99444"/>
    <a:srgbClr val="D2519D"/>
    <a:srgbClr val="32AFC3"/>
    <a:srgbClr val="9C93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A00891-7678-41EC-968B-7AF38A218C1F}" v="20" dt="2023-04-12T10:58:02.0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82" d="100"/>
          <a:sy n="82" d="100"/>
        </p:scale>
        <p:origin x="691" y="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31E23-3671-4EB1-A929-4F2D23AD3768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235E42-08C2-4B51-8226-949D8765D5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11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11" Type="http://schemas.openxmlformats.org/officeDocument/2006/relationships/image" Target="../media/image15.png"/><Relationship Id="rId5" Type="http://schemas.openxmlformats.org/officeDocument/2006/relationships/image" Target="../media/image2.png"/><Relationship Id="rId10" Type="http://schemas.openxmlformats.org/officeDocument/2006/relationships/image" Target="../media/image14.svg"/><Relationship Id="rId4" Type="http://schemas.openxmlformats.org/officeDocument/2006/relationships/image" Target="../media/image5.svg"/><Relationship Id="rId9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14.svg"/><Relationship Id="rId4" Type="http://schemas.openxmlformats.org/officeDocument/2006/relationships/image" Target="../media/image5.svg"/><Relationship Id="rId9" Type="http://schemas.openxmlformats.org/officeDocument/2006/relationships/image" Target="../media/image13.png"/><Relationship Id="rId14" Type="http://schemas.openxmlformats.org/officeDocument/2006/relationships/image" Target="../media/image1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hyperlink" Target="http://www.wirtschaftsinformatik.fraunhofer.de/bise" TargetMode="External"/><Relationship Id="rId4" Type="http://schemas.openxmlformats.org/officeDocument/2006/relationships/hyperlink" Target="http://www.fim-rc.de/en" TargetMode="External"/><Relationship Id="rId9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www.wirtschaftsinformatik.fraunhofer.de/bise" TargetMode="External"/><Relationship Id="rId7" Type="http://schemas.openxmlformats.org/officeDocument/2006/relationships/image" Target="../media/image19.svg"/><Relationship Id="rId2" Type="http://schemas.openxmlformats.org/officeDocument/2006/relationships/hyperlink" Target="http://www.fim-rc.de/en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www.wirtschaftsinformatik.fraunhofer.de/bise" TargetMode="External"/><Relationship Id="rId7" Type="http://schemas.openxmlformats.org/officeDocument/2006/relationships/image" Target="../media/image5.svg"/><Relationship Id="rId2" Type="http://schemas.openxmlformats.org/officeDocument/2006/relationships/hyperlink" Target="http://www.fim-rc.de/en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5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11" Type="http://schemas.openxmlformats.org/officeDocument/2006/relationships/image" Target="../media/image17.png"/><Relationship Id="rId5" Type="http://schemas.openxmlformats.org/officeDocument/2006/relationships/image" Target="../media/image2.png"/><Relationship Id="rId10" Type="http://schemas.openxmlformats.org/officeDocument/2006/relationships/image" Target="../media/image20.svg"/><Relationship Id="rId4" Type="http://schemas.openxmlformats.org/officeDocument/2006/relationships/image" Target="../media/image19.svg"/><Relationship Id="rId9" Type="http://schemas.openxmlformats.org/officeDocument/2006/relationships/image" Target="../media/image13.png"/><Relationship Id="rId14" Type="http://schemas.openxmlformats.org/officeDocument/2006/relationships/image" Target="../media/image21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Christoph Buck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IT-Entrepreneurship and IT-Innovation Management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516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6D683E5-923C-44F1-BD47-07514E4C1C94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95C88A7B-0C50-4FFD-949F-D01A6977E9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D12E80DD-131D-4DDE-9232-463C263C3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262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Cont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C8922C9-4411-44CA-BF08-897CD556CDA6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28754179-DC89-41D9-8183-BB6C07D85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656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2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8A2E3E6-BFDE-4B7C-B8F6-CC1C669E363D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Bildquelle(n): Lorem ipsum dolor sit amet</a:t>
            </a:r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Quelle(n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8322F2B1-B09E-4C43-AAB3-BF8DE534E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1077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608B312-8C5D-4EED-961C-827042501AA1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396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739BE129-055B-4402-B843-72187F532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309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E52B9E1-A6EF-4B5F-BD3A-4D6DD748952E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8D8DB4EF-E102-4CAA-9504-C6B6098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0075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1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10A5B98-8661-43CD-9657-F78F4B5A64C6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64000" y="1449389"/>
            <a:ext cx="7178400" cy="4500000"/>
          </a:xfrm>
        </p:spPr>
        <p:txBody>
          <a:bodyPr/>
          <a:lstStyle>
            <a:lvl2pPr>
              <a:defRPr>
                <a:solidFill>
                  <a:srgbClr val="4B4B4B"/>
                </a:solidFill>
              </a:defRPr>
            </a:lvl2pPr>
            <a:lvl3pPr>
              <a:defRPr>
                <a:solidFill>
                  <a:srgbClr val="4B4B4B"/>
                </a:solidFill>
              </a:defRPr>
            </a:lvl3pPr>
            <a:lvl4pPr>
              <a:defRPr>
                <a:solidFill>
                  <a:srgbClr val="4B4B4B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Image Source(s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77767BC3-EF39-4BA9-BE6F-8DC29070A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18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 only</a:t>
            </a:r>
            <a:br>
              <a:rPr lang="en-US" noProof="0"/>
            </a:br>
            <a:r>
              <a:rPr lang="en-US" noProof="0"/>
              <a:t>For free design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52AC039-7583-4300-B6F6-5EFD88D3472B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65E63A6C-6B9D-4ED6-8E4C-40EBF3C22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7141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8339"/>
            <a:ext cx="12191979" cy="5619664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5265142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ACE5DE88-914A-45E9-B338-44AD922FD8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265142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3289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71256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6781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H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Björn </a:t>
            </a:r>
            <a:r>
              <a:rPr lang="en-US" sz="1200" b="1" noProof="0" err="1">
                <a:solidFill>
                  <a:srgbClr val="4B4B4B"/>
                </a:solidFill>
              </a:rPr>
              <a:t>Häckel</a:t>
            </a:r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Digital Value Network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Technology Transfer Center Data Analytic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542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-23447" y="34131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277" y="1403759"/>
            <a:ext cx="7086599" cy="252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/>
              <a:t>Lorem Ipsum Contac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8210739-A7B5-4727-996A-6EBB55D2A1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277" y="18144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4A0ECCC-1B76-41FA-9A42-339CA6A54D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0576" y="1815996"/>
            <a:ext cx="526205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A80D7F4A-717E-4AE7-802E-EFBF5EB3A3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9821" y="2314359"/>
            <a:ext cx="4962805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778C4C83-CBBB-43B7-8CA1-15800F4FF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996" y="2524966"/>
            <a:ext cx="495962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2D5A83F5-D380-405C-A134-1681FA791A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80576" y="2034628"/>
            <a:ext cx="526205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47AC124-B133-412E-B0C8-C733A5A92C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8277" y="3327959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1" name="Bildplatzhalter 9">
            <a:extLst>
              <a:ext uri="{FF2B5EF4-FFF2-40B4-BE49-F238E27FC236}">
                <a16:creationId xmlns:a16="http://schemas.microsoft.com/office/drawing/2014/main" id="{BF3FDFB1-FE4B-4E00-8A5E-7C705C797B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58277" y="48438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6" name="Textplatzhalter 11">
            <a:extLst>
              <a:ext uri="{FF2B5EF4-FFF2-40B4-BE49-F238E27FC236}">
                <a16:creationId xmlns:a16="http://schemas.microsoft.com/office/drawing/2014/main" id="{E1CC5647-09AC-43CF-8FB0-495250281B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82815" y="3326504"/>
            <a:ext cx="525981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80" name="Textplatzhalter 11">
            <a:extLst>
              <a:ext uri="{FF2B5EF4-FFF2-40B4-BE49-F238E27FC236}">
                <a16:creationId xmlns:a16="http://schemas.microsoft.com/office/drawing/2014/main" id="{34482FC8-39A7-4E44-8BF0-6701234DA9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3265" y="3823736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81" name="Textplatzhalter 11">
            <a:extLst>
              <a:ext uri="{FF2B5EF4-FFF2-40B4-BE49-F238E27FC236}">
                <a16:creationId xmlns:a16="http://schemas.microsoft.com/office/drawing/2014/main" id="{03AE6129-D0F8-4E57-B4D8-ADE21CF624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73265" y="4034343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83" name="Textplatzhalter 11">
            <a:extLst>
              <a:ext uri="{FF2B5EF4-FFF2-40B4-BE49-F238E27FC236}">
                <a16:creationId xmlns:a16="http://schemas.microsoft.com/office/drawing/2014/main" id="{ED3F554C-E345-450A-9FA5-BA988E0D9B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82815" y="3544005"/>
            <a:ext cx="525981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8" name="Textplatzhalter 11">
            <a:extLst>
              <a:ext uri="{FF2B5EF4-FFF2-40B4-BE49-F238E27FC236}">
                <a16:creationId xmlns:a16="http://schemas.microsoft.com/office/drawing/2014/main" id="{03464F00-E2CE-4EF3-B4D6-73F09D87EF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82814" y="4850504"/>
            <a:ext cx="5259809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54" name="Textplatzhalter 11">
            <a:extLst>
              <a:ext uri="{FF2B5EF4-FFF2-40B4-BE49-F238E27FC236}">
                <a16:creationId xmlns:a16="http://schemas.microsoft.com/office/drawing/2014/main" id="{315E5A50-1AD0-43A4-9E5E-507A33A226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82814" y="5068005"/>
            <a:ext cx="5259809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E6AFFAD5-B741-4842-BF57-A739170380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3265" y="5347736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56" name="Textplatzhalter 11">
            <a:extLst>
              <a:ext uri="{FF2B5EF4-FFF2-40B4-BE49-F238E27FC236}">
                <a16:creationId xmlns:a16="http://schemas.microsoft.com/office/drawing/2014/main" id="{870B6530-504A-49B7-8D2E-F785F2B173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673265" y="5558343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ADDD3474-BB18-4FE4-B07F-41C864C42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5232599-53B2-4520-923F-11F273D5C3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783FE58B-0FE9-4C0B-92C8-3B16153715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83DF9D7-ADE5-4760-90AC-4AB72BFFEE0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2513490"/>
            <a:ext cx="162000" cy="16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3AFF314-CF29-4D1C-ACDF-9DACD6219D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0416" y="2306336"/>
            <a:ext cx="162000" cy="16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934C4E3-2D7B-4477-BF0A-4B9CB62C75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4026129"/>
            <a:ext cx="162000" cy="16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20970E7-4372-49C3-90A2-185082034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3816174"/>
            <a:ext cx="162000" cy="16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68BB615-AACD-4B20-9F4C-0BD1B34D41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2814" y="5549343"/>
            <a:ext cx="162000" cy="162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601E5CBB-99FA-44DE-BD22-26F18A2E979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5338736"/>
            <a:ext cx="1620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0641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0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00" y="1403759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osing Slid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3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50800" y="2398214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6B241954-CE54-4ED1-B39C-46A4A3819A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E8F852C-CF63-456C-A9CF-3A6F9AB15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3C75900-BC45-4EB3-AD1E-AF359B5DA5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366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03 – Aufzählung Link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23"/>
          </p:nvPr>
        </p:nvSpPr>
        <p:spPr>
          <a:xfrm>
            <a:off x="576000" y="2188724"/>
            <a:ext cx="5422240" cy="4370168"/>
          </a:xfrm>
          <a:prstGeom prst="rect">
            <a:avLst/>
          </a:prstGeom>
        </p:spPr>
        <p:txBody>
          <a:bodyPr vert="horz" lIns="0" tIns="0" rIns="0" bIns="0"/>
          <a:lstStyle>
            <a:lvl1pPr marL="191995" indent="-191995">
              <a:spcBef>
                <a:spcPts val="0"/>
              </a:spcBef>
              <a:buFont typeface="Lucida Grande"/>
              <a:buChar char="&gt;"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1989" indent="-239994">
              <a:spcBef>
                <a:spcPts val="133"/>
              </a:spcBef>
              <a:buFont typeface="Lucida Grande"/>
              <a:buChar char="&gt;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4pPr marL="671983" indent="-239994">
              <a:buFont typeface="Lucida Grande"/>
              <a:buChar char="&gt;"/>
              <a:defRPr sz="1867">
                <a:latin typeface=""/>
              </a:defRPr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21"/>
          </p:nvPr>
        </p:nvSpPr>
        <p:spPr>
          <a:xfrm>
            <a:off x="576001" y="672000"/>
            <a:ext cx="8124705" cy="8892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Font typeface="Arial"/>
              <a:buNone/>
              <a:defRPr sz="186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4"/>
          </p:nvPr>
        </p:nvSpPr>
        <p:spPr>
          <a:xfrm>
            <a:off x="6612575" y="2188725"/>
            <a:ext cx="5293675" cy="43701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Bild auf Platzhalter ziehen oder durch Klicken auf Symbol hinzufüg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28.10.2022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© Hochschule Augsburg | Fakultät für Informatik | Dr. Wolfgang Kratsch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EEE60D18-B805-47B7-8A9D-C1AD3B75A236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67588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Christoph Buck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IT-Entrepreneurship and IT-Innovation Management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5165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H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287DD24-7F43-8F49-AFFE-AFAD121B633C}"/>
              </a:ext>
            </a:extLst>
          </p:cNvPr>
          <p:cNvSpPr txBox="1"/>
          <p:nvPr userDrawn="1"/>
        </p:nvSpPr>
        <p:spPr>
          <a:xfrm>
            <a:off x="4548554" y="3047093"/>
            <a:ext cx="7086600" cy="31541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z="1200" b="1" noProof="0">
                <a:solidFill>
                  <a:srgbClr val="4B4B4B"/>
                </a:solidFill>
              </a:rPr>
              <a:t>Prof. Dr. Björn </a:t>
            </a:r>
            <a:r>
              <a:rPr lang="en-US" sz="1200" b="1" noProof="0" err="1">
                <a:solidFill>
                  <a:srgbClr val="4B4B4B"/>
                </a:solidFill>
              </a:rPr>
              <a:t>Häckel</a:t>
            </a:r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Professor of Digital Value Network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Technology Transfer Center Data Analytic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1" noProof="0">
              <a:solidFill>
                <a:schemeClr val="accent3">
                  <a:lumMod val="75000"/>
                </a:schemeClr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lvl="0"/>
            <a:endParaRPr lang="en-US" sz="1200" b="1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sz="1200" noProof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09992D-4E34-4230-9CFD-30E48779C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248E531-E230-4284-96BD-545D792A0F8E}"/>
              </a:ext>
            </a:extLst>
          </p:cNvPr>
          <p:cNvSpPr txBox="1"/>
          <p:nvPr userDrawn="1"/>
        </p:nvSpPr>
        <p:spPr>
          <a:xfrm>
            <a:off x="4548554" y="6087520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04DB3C0-2FE5-43A2-AD34-5422D550E48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CE351DE-7FB1-404C-AAE4-78B4B0A8DAD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D66FB56-68CA-4BE2-BEBC-8512709EB3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5426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err="1"/>
              <a:t>Subheadline</a:t>
            </a:r>
            <a:r>
              <a:rPr lang="en-US" noProof="0"/>
              <a:t>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701BC7E-F65D-4BA6-B108-7B355DE10CA0}"/>
              </a:ext>
            </a:extLst>
          </p:cNvPr>
          <p:cNvSpPr txBox="1"/>
          <p:nvPr userDrawn="1"/>
        </p:nvSpPr>
        <p:spPr>
          <a:xfrm>
            <a:off x="4548554" y="6084588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30153"/>
            <a:ext cx="7106424" cy="9490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1B20D8E-C2F1-4E1D-92DF-567E6DD147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C50BEE1-DB72-453E-8C1C-982C2F4F57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DCDA0D5-813F-4945-8A4A-9D69B9B113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6" name="Textplatzhalter 38">
            <a:extLst>
              <a:ext uri="{FF2B5EF4-FFF2-40B4-BE49-F238E27FC236}">
                <a16:creationId xmlns:a16="http://schemas.microsoft.com/office/drawing/2014/main" id="{C36E9DB3-3E44-42FA-BA6B-5523265819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474" y="3054958"/>
            <a:ext cx="7092583" cy="2659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Degree and name of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9806569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AAC85F5C-574C-4A0C-8861-078BD84474EC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Fußzeilenplatzhalter 12">
            <a:extLst>
              <a:ext uri="{FF2B5EF4-FFF2-40B4-BE49-F238E27FC236}">
                <a16:creationId xmlns:a16="http://schemas.microsoft.com/office/drawing/2014/main" id="{93F34CA0-1F4D-4D06-B77C-D32008BDA8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18625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2034A1B-DE3E-4DC7-BC95-974B27B94B88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C7DE1A76-751E-4D18-8C75-BA2B4C038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89302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262D91FC-9D9E-4641-A3B5-4A2CA4AC6008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196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196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196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196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139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28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139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28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139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28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139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28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55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01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155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01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155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01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155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01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31" name="Fußzeilenplatzhalter 12">
            <a:extLst>
              <a:ext uri="{FF2B5EF4-FFF2-40B4-BE49-F238E27FC236}">
                <a16:creationId xmlns:a16="http://schemas.microsoft.com/office/drawing/2014/main" id="{4BEA234A-56EB-47F0-B76F-074CD842C3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3043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eliebige*r Vortragende*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8555" y="1397592"/>
            <a:ext cx="7092583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5399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48557" y="2385194"/>
            <a:ext cx="7092583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err="1"/>
              <a:t>Subheadline</a:t>
            </a:r>
            <a:r>
              <a:rPr lang="en-US" noProof="0"/>
              <a:t>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19B33EA7-9CE8-493B-9082-0F747F82D6A2}"/>
              </a:ext>
            </a:extLst>
          </p:cNvPr>
          <p:cNvCxnSpPr>
            <a:cxnSpLocks/>
          </p:cNvCxnSpPr>
          <p:nvPr userDrawn="1"/>
        </p:nvCxnSpPr>
        <p:spPr>
          <a:xfrm>
            <a:off x="4548555" y="1238116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8" name="Gerader Verbinder 137">
            <a:extLst>
              <a:ext uri="{FF2B5EF4-FFF2-40B4-BE49-F238E27FC236}">
                <a16:creationId xmlns:a16="http://schemas.microsoft.com/office/drawing/2014/main" id="{0A45966A-13AC-43DE-93A7-08E0DE51F97A}"/>
              </a:ext>
            </a:extLst>
          </p:cNvPr>
          <p:cNvCxnSpPr>
            <a:cxnSpLocks/>
          </p:cNvCxnSpPr>
          <p:nvPr userDrawn="1"/>
        </p:nvCxnSpPr>
        <p:spPr>
          <a:xfrm>
            <a:off x="4548554" y="1238116"/>
            <a:ext cx="70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701BC7E-F65D-4BA6-B108-7B355DE10CA0}"/>
              </a:ext>
            </a:extLst>
          </p:cNvPr>
          <p:cNvSpPr txBox="1"/>
          <p:nvPr userDrawn="1"/>
        </p:nvSpPr>
        <p:spPr>
          <a:xfrm>
            <a:off x="4548554" y="6084588"/>
            <a:ext cx="3364380" cy="36566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im-rc.de/en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0" lvl="0" algn="l" defTabSz="914400" rtl="0" eaLnBrk="1" latinLnBrk="0" hangingPunct="1"/>
            <a:r>
              <a:rPr lang="en-US" sz="1200" kern="1200" noProof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irtschaftsinformatik.fraunhofer.de/bise</a:t>
            </a:r>
            <a:endParaRPr lang="en-US" sz="1200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8A2D0A4-929C-4059-BBE7-4297BFE74BDA}"/>
              </a:ext>
            </a:extLst>
          </p:cNvPr>
          <p:cNvSpPr txBox="1"/>
          <p:nvPr userDrawn="1"/>
        </p:nvSpPr>
        <p:spPr>
          <a:xfrm>
            <a:off x="4548554" y="3430153"/>
            <a:ext cx="7106424" cy="9490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rgbClr val="4B4B4B"/>
                </a:solidFill>
              </a:rPr>
              <a:t>Augsburg University of Applied Sciences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Research Center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inance &amp; Information Management</a:t>
            </a:r>
          </a:p>
          <a:p>
            <a:pPr lvl="0"/>
            <a:endParaRPr lang="en-US" sz="1200" b="0" noProof="0">
              <a:solidFill>
                <a:schemeClr val="accent3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Fraunhofer Institute for Applied Information Technology FIT,</a:t>
            </a:r>
          </a:p>
          <a:p>
            <a:pPr lvl="0"/>
            <a:r>
              <a:rPr lang="en-US" sz="1200" b="0" noProof="0">
                <a:solidFill>
                  <a:schemeClr val="accent3">
                    <a:lumMod val="75000"/>
                  </a:schemeClr>
                </a:solidFill>
              </a:rPr>
              <a:t>Branch Business &amp; Information Systems Engineering</a:t>
            </a:r>
          </a:p>
          <a:p>
            <a:pPr lvl="0"/>
            <a:endParaRPr lang="en-US" sz="1200" b="0" noProof="0">
              <a:solidFill>
                <a:srgbClr val="4B4B4B"/>
              </a:solidFill>
            </a:endParaRPr>
          </a:p>
          <a:p>
            <a:pPr marL="0" indent="0" algn="l">
              <a:buNone/>
            </a:pPr>
            <a:endParaRPr lang="en-US" noProof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1B20D8E-C2F1-4E1D-92DF-567E6DD147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4714" y="407744"/>
            <a:ext cx="973932" cy="58988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C50BEE1-DB72-453E-8C1C-982C2F4F57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426800" y="404813"/>
            <a:ext cx="1490667" cy="58229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DCDA0D5-813F-4945-8A4A-9D69B9B113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4400" y="406800"/>
            <a:ext cx="1285200" cy="351964"/>
          </a:xfrm>
          <a:prstGeom prst="rect">
            <a:avLst/>
          </a:prstGeom>
        </p:spPr>
      </p:pic>
      <p:sp>
        <p:nvSpPr>
          <p:cNvPr id="16" name="Textplatzhalter 38">
            <a:extLst>
              <a:ext uri="{FF2B5EF4-FFF2-40B4-BE49-F238E27FC236}">
                <a16:creationId xmlns:a16="http://schemas.microsoft.com/office/drawing/2014/main" id="{C36E9DB3-3E44-42FA-BA6B-5523265819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5474" y="3054958"/>
            <a:ext cx="7092583" cy="26599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4B4B4B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Degree and name of the presenter</a:t>
            </a:r>
          </a:p>
        </p:txBody>
      </p:sp>
    </p:spTree>
    <p:extLst>
      <p:ext uri="{BB962C8B-B14F-4D97-AF65-F5344CB8AC3E}">
        <p14:creationId xmlns:p14="http://schemas.microsoft.com/office/powerpoint/2010/main" val="1980656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67DFEC7-5C94-430A-975A-8DDFD5733BE9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AF3C72FA-3446-4DA3-BA66-3CF927EBB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651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19" name="Bildplatzhalter 2">
            <a:extLst>
              <a:ext uri="{FF2B5EF4-FFF2-40B4-BE49-F238E27FC236}">
                <a16:creationId xmlns:a16="http://schemas.microsoft.com/office/drawing/2014/main" id="{573B162B-FDFC-4DCE-9D60-1ACFB47A97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27F698C-DFBC-4237-9CE5-F3928EF2F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0F88ED0-113C-47F0-9DE1-E721839838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62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1" name="Bildplatzhalter 2">
            <a:extLst>
              <a:ext uri="{FF2B5EF4-FFF2-40B4-BE49-F238E27FC236}">
                <a16:creationId xmlns:a16="http://schemas.microsoft.com/office/drawing/2014/main" id="{4652E065-26AB-4D32-AD4B-7D6654BA45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66241EC-1F6C-4DFF-A801-765F63FC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6E1B3BA-9ED0-42A8-BC30-BB3E7634A2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28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7611887-F011-4D13-9328-BE8409EEE484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1" y="1449388"/>
            <a:ext cx="11088000" cy="4427537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95C88A7B-0C50-4FFD-949F-D01A6977E9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2000" y="6201000"/>
            <a:ext cx="11088000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D12E80DD-131D-4DDE-9232-463C263C3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262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Cont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A1504FF4-7DA7-45E7-A4F6-E68109001D3A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8"/>
            <a:ext cx="5315369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D8ACB48-ECD1-4E0E-9176-B1015FF608C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22566" y="1449388"/>
            <a:ext cx="5316297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F58655A5-70C7-4367-AAA1-B83A6CE9116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2800" y="6201000"/>
            <a:ext cx="5315369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7D76AA35-8DAB-4C1E-90FE-82769E26E2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28754179-DC89-41D9-8183-BB6C07D85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656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2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727EFAF-E8B2-4713-B01C-AD73AB036B30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0800" y="1449386"/>
            <a:ext cx="7178400" cy="4500000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2509" y="1449386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F9A99E4D-0B5F-4760-9338-D404BD1D183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82509" y="6201000"/>
            <a:ext cx="3456354" cy="1440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Bildquelle(n): Lorem ipsum dolor sit amet</a:t>
            </a:r>
          </a:p>
        </p:txBody>
      </p:sp>
      <p:sp>
        <p:nvSpPr>
          <p:cNvPr id="14" name="Inhaltsplatzhalter 7">
            <a:extLst>
              <a:ext uri="{FF2B5EF4-FFF2-40B4-BE49-F238E27FC236}">
                <a16:creationId xmlns:a16="http://schemas.microsoft.com/office/drawing/2014/main" id="{A651BD4C-A6A4-4605-B101-327106CF2B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481"/>
            <a:ext cx="7178400" cy="144000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Quelle(n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8322F2B1-B09E-4C43-AAB3-BF8DE534ED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1077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BA4DA3C-6F88-4688-8214-E21CEF50D7EC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11088000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F8754C95-D129-476E-91CD-21BBFE867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F2DD5413-F8F9-4B27-8EAE-532F4873E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0801" y="4961418"/>
            <a:ext cx="11088000" cy="139606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2" name="Fußzeilenplatzhalter 12">
            <a:extLst>
              <a:ext uri="{FF2B5EF4-FFF2-40B4-BE49-F238E27FC236}">
                <a16:creationId xmlns:a16="http://schemas.microsoft.com/office/drawing/2014/main" id="{739BE129-055B-4402-B843-72187F532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30994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ntrale Aussage_Zweispaltig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E4DD5-3C38-4827-AB4F-42425E336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title forma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5C2E51-7D0B-4A4D-8DC1-79065BA72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E51F821-C527-47FD-98E3-ECE36695C275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1DBF68-B110-47AE-81D0-1A1BB377B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51D4E8B-9169-4CED-9B68-4105C736C8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00" y="1449389"/>
            <a:ext cx="5316412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F3122D6-4BDB-48DE-A4AE-F43CC58711CC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78AF313-00DB-484C-B8F3-CA93B007BA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00" y="5265138"/>
            <a:ext cx="11088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3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2DF239D-7090-482E-8513-8A5EA2BAF96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1184" y="1449389"/>
            <a:ext cx="5317616" cy="3351315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0A423CE-1ED4-49EE-B700-5F9E1A1561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5265138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62E0870A-1650-47DB-9E5F-C4C693A08F7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3431" y="4960917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57812905-85A4-4D41-B594-9DBE67D7222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0863" y="4960916"/>
            <a:ext cx="5315369" cy="144007"/>
          </a:xfrm>
        </p:spPr>
        <p:txBody>
          <a:bodyPr anchor="b"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4" name="Fußzeilenplatzhalter 12">
            <a:extLst>
              <a:ext uri="{FF2B5EF4-FFF2-40B4-BE49-F238E27FC236}">
                <a16:creationId xmlns:a16="http://schemas.microsoft.com/office/drawing/2014/main" id="{8D8DB4EF-E102-4CAA-9504-C6B6098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00750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Inhal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AA6B5-141F-44B5-A6D7-591287D25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ntent_Image_1/3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9A54B5-3EC0-4E62-8E65-8B53A9175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ADFBC434-75D6-42F0-8D40-CD055ABD8CA2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6950EE-5D2D-4DBE-B2BC-428939E6E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4063" y="6584720"/>
            <a:ext cx="304800" cy="13960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463866B-AFBB-4230-8C80-95837FE8A2E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64000" y="1449389"/>
            <a:ext cx="7178400" cy="4500000"/>
          </a:xfrm>
        </p:spPr>
        <p:txBody>
          <a:bodyPr/>
          <a:lstStyle>
            <a:lvl2pPr>
              <a:defRPr>
                <a:solidFill>
                  <a:srgbClr val="4B4B4B"/>
                </a:solidFill>
              </a:defRPr>
            </a:lvl2pPr>
            <a:lvl3pPr>
              <a:defRPr>
                <a:solidFill>
                  <a:srgbClr val="4B4B4B"/>
                </a:solidFill>
              </a:defRPr>
            </a:lvl3pPr>
            <a:lvl4pPr>
              <a:defRPr>
                <a:solidFill>
                  <a:srgbClr val="4B4B4B"/>
                </a:solidFill>
              </a:defRPr>
            </a:lvl4pPr>
          </a:lstStyle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66560C2-5920-4C2E-BC72-15DF7369FF9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CFAE809-57E6-4701-9CEE-97722EB9BA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0800" y="1449389"/>
            <a:ext cx="3456354" cy="4500000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7471E5C3-2D64-419A-8EE2-8313EF24F23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63590" y="6201000"/>
            <a:ext cx="7178400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Source(s): Lorem ipsum dolor sit amet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B1E808DA-B814-4D3E-89EC-C2AD849F7B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50800" y="6201000"/>
            <a:ext cx="3456354" cy="144000"/>
          </a:xfrm>
        </p:spPr>
        <p:txBody>
          <a:bodyPr/>
          <a:lstStyle>
            <a:lvl1pPr marL="0" indent="0" algn="r">
              <a:buNone/>
              <a:defRPr sz="1050" i="1">
                <a:solidFill>
                  <a:schemeClr val="accent2"/>
                </a:solidFill>
              </a:defRPr>
            </a:lvl1pPr>
            <a:lvl2pPr>
              <a:defRPr sz="1050">
                <a:solidFill>
                  <a:schemeClr val="accent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noProof="0"/>
              <a:t>Image Source(s): Lorem ipsum dolor sit amet</a:t>
            </a:r>
          </a:p>
        </p:txBody>
      </p:sp>
      <p:sp>
        <p:nvSpPr>
          <p:cNvPr id="15" name="Fußzeilenplatzhalter 12">
            <a:extLst>
              <a:ext uri="{FF2B5EF4-FFF2-40B4-BE49-F238E27FC236}">
                <a16:creationId xmlns:a16="http://schemas.microsoft.com/office/drawing/2014/main" id="{77767BC3-EF39-4BA9-BE6F-8DC29070A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18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DD4110-BE23-4BA1-9D17-C4601F20C8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itle only</a:t>
            </a:r>
            <a:br>
              <a:rPr lang="en-US" noProof="0"/>
            </a:br>
            <a:r>
              <a:rPr lang="en-US" noProof="0"/>
              <a:t>For free design   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EB47C2-3C17-42A1-979F-ADB13DCEA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45E05A8-F5AE-4E44-B22D-B79C5FDB88CE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0547F-3831-4DE1-A9F6-CC8691685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592323-0F20-49E2-B449-ADBAA6030981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8" name="Fußzeilenplatzhalter 12">
            <a:extLst>
              <a:ext uri="{FF2B5EF4-FFF2-40B4-BE49-F238E27FC236}">
                <a16:creationId xmlns:a16="http://schemas.microsoft.com/office/drawing/2014/main" id="{65E63A6C-6B9D-4ED6-8E4C-40EBF3C22C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7141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77A1953F-C09E-4DBE-9D3B-9A7F5884ACBA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00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C3DBA1C-553F-47F9-8206-18BF8A76B5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00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76EF870-C0D1-4E65-ACDA-AC0C4DCD67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00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48E6316B-2069-4750-BF15-CC3D33F8A2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00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3" name="Textplatzhalter 72">
            <a:extLst>
              <a:ext uri="{FF2B5EF4-FFF2-40B4-BE49-F238E27FC236}">
                <a16:creationId xmlns:a16="http://schemas.microsoft.com/office/drawing/2014/main" id="{E9AA332B-9DF1-4240-9A4C-9FDC17CE14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259" y="1453077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2" name="Textplatzhalter 71">
            <a:extLst>
              <a:ext uri="{FF2B5EF4-FFF2-40B4-BE49-F238E27FC236}">
                <a16:creationId xmlns:a16="http://schemas.microsoft.com/office/drawing/2014/main" id="{E172CBCD-D32E-4101-91DA-372D4E674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259" y="2729023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EE8D2679-F21D-4AEE-BACE-016F73C14C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259" y="4004966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F561E1-F8AF-40EB-A833-95BC6D6C8F3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259" y="5280910"/>
            <a:ext cx="5203943" cy="920067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076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91" y="166131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076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91" y="293921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076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91" y="4217111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076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91" y="5495007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092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64" y="1616864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092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64" y="2899151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092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64" y="418143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092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64" y="5463725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5" name="Inhaltsplatzhalter 9">
            <a:extLst>
              <a:ext uri="{FF2B5EF4-FFF2-40B4-BE49-F238E27FC236}">
                <a16:creationId xmlns:a16="http://schemas.microsoft.com/office/drawing/2014/main" id="{F0946075-0AC7-48A3-8D0F-123C98FFD6E5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1546285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6" name="Inhaltsplatzhalter 9">
            <a:extLst>
              <a:ext uri="{FF2B5EF4-FFF2-40B4-BE49-F238E27FC236}">
                <a16:creationId xmlns:a16="http://schemas.microsoft.com/office/drawing/2014/main" id="{B58AB14C-CDD4-4AAB-904A-52D84FAE9367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470904" y="291677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46285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8" name="Inhaltsplatzhalter 9">
            <a:extLst>
              <a:ext uri="{FF2B5EF4-FFF2-40B4-BE49-F238E27FC236}">
                <a16:creationId xmlns:a16="http://schemas.microsoft.com/office/drawing/2014/main" id="{321D1B94-2D21-41E1-A777-3DC603FBD847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7470904" y="164015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9" name="Inhaltsplatzhalter 9">
            <a:extLst>
              <a:ext uri="{FF2B5EF4-FFF2-40B4-BE49-F238E27FC236}">
                <a16:creationId xmlns:a16="http://schemas.microsoft.com/office/drawing/2014/main" id="{C7600883-7FF9-4E2D-AD32-649383774589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1546285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0" name="Inhaltsplatzhalter 9">
            <a:extLst>
              <a:ext uri="{FF2B5EF4-FFF2-40B4-BE49-F238E27FC236}">
                <a16:creationId xmlns:a16="http://schemas.microsoft.com/office/drawing/2014/main" id="{C15AA9A2-7395-47A8-A1A0-37D3FEFF7A48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470904" y="419339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1" name="Inhaltsplatzhalter 9">
            <a:extLst>
              <a:ext uri="{FF2B5EF4-FFF2-40B4-BE49-F238E27FC236}">
                <a16:creationId xmlns:a16="http://schemas.microsoft.com/office/drawing/2014/main" id="{AE55F5E1-5331-469D-88FF-C70B9DE6E480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546285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2" name="Inhaltsplatzhalter 9">
            <a:extLst>
              <a:ext uri="{FF2B5EF4-FFF2-40B4-BE49-F238E27FC236}">
                <a16:creationId xmlns:a16="http://schemas.microsoft.com/office/drawing/2014/main" id="{99528CFB-C5EA-4EC6-8C5D-7EA239BE48D9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7470904" y="5470019"/>
            <a:ext cx="26585" cy="547688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Fußzeilenplatzhalter 12">
            <a:extLst>
              <a:ext uri="{FF2B5EF4-FFF2-40B4-BE49-F238E27FC236}">
                <a16:creationId xmlns:a16="http://schemas.microsoft.com/office/drawing/2014/main" id="{93F34CA0-1F4D-4D06-B77C-D32008BDA8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18625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8339"/>
            <a:ext cx="12191979" cy="5619664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5265142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ACE5DE88-914A-45E9-B338-44AD922FD8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265142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32898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Alternativ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57063"/>
            <a:ext cx="6096000" cy="936625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468000" tIns="108000" rIns="432000" bIns="108000" anchor="ctr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E7330922-7F51-4C91-8DC7-07C149FD3E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457063"/>
            <a:ext cx="232507" cy="936625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71256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_ganzflächig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ildplatzhalter 103">
            <a:extLst>
              <a:ext uri="{FF2B5EF4-FFF2-40B4-BE49-F238E27FC236}">
                <a16:creationId xmlns:a16="http://schemas.microsoft.com/office/drawing/2014/main" id="{41167E96-D4AB-44BD-BBF3-59586ABEF4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" y="1233490"/>
            <a:ext cx="12191979" cy="5624515"/>
          </a:xfrm>
          <a:custGeom>
            <a:avLst/>
            <a:gdLst>
              <a:gd name="connsiteX0" fmla="*/ 0 w 9905983"/>
              <a:gd name="connsiteY0" fmla="*/ 0 h 6857989"/>
              <a:gd name="connsiteX1" fmla="*/ 9905983 w 9905983"/>
              <a:gd name="connsiteY1" fmla="*/ 0 h 6857989"/>
              <a:gd name="connsiteX2" fmla="*/ 9905983 w 9905983"/>
              <a:gd name="connsiteY2" fmla="*/ 6857989 h 6857989"/>
              <a:gd name="connsiteX3" fmla="*/ 0 w 9905983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5983" h="6857989">
                <a:moveTo>
                  <a:pt x="0" y="0"/>
                </a:moveTo>
                <a:lnTo>
                  <a:pt x="9905983" y="0"/>
                </a:lnTo>
                <a:lnTo>
                  <a:pt x="9905983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5" name="Textplatzhalter 14">
            <a:extLst>
              <a:ext uri="{FF2B5EF4-FFF2-40B4-BE49-F238E27FC236}">
                <a16:creationId xmlns:a16="http://schemas.microsoft.com/office/drawing/2014/main" id="{D36D93C0-DCCD-41F5-9030-B5A2BD03F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" y="5595038"/>
            <a:ext cx="6095999" cy="606724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540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Lorem Ipsum</a:t>
            </a:r>
          </a:p>
        </p:txBody>
      </p:sp>
      <p:sp>
        <p:nvSpPr>
          <p:cNvPr id="106" name="Textplatzhalter 14">
            <a:extLst>
              <a:ext uri="{FF2B5EF4-FFF2-40B4-BE49-F238E27FC236}">
                <a16:creationId xmlns:a16="http://schemas.microsoft.com/office/drawing/2014/main" id="{0176A9EC-3AD0-4E01-8563-18A9AB2C1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595038"/>
            <a:ext cx="232507" cy="606724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effectLst/>
        </p:spPr>
        <p:txBody>
          <a:bodyPr lIns="972000" tIns="108000" rIns="180000" bIns="10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67818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-23447" y="34131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277" y="1403759"/>
            <a:ext cx="7086599" cy="252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/>
              <a:t>Lorem Ipsum Contac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60837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E8210739-A7B5-4727-996A-6EBB55D2A1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277" y="18144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4A0ECCC-1B76-41FA-9A42-339CA6A54D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80576" y="1815996"/>
            <a:ext cx="526205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A80D7F4A-717E-4AE7-802E-EFBF5EB3A3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9821" y="2314359"/>
            <a:ext cx="4962805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778C4C83-CBBB-43B7-8CA1-15800F4FF1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996" y="2524966"/>
            <a:ext cx="495962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2D5A83F5-D380-405C-A134-1681FA791A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80576" y="2034628"/>
            <a:ext cx="526205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47AC124-B133-412E-B0C8-C733A5A92C1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58277" y="3327959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1" name="Bildplatzhalter 9">
            <a:extLst>
              <a:ext uri="{FF2B5EF4-FFF2-40B4-BE49-F238E27FC236}">
                <a16:creationId xmlns:a16="http://schemas.microsoft.com/office/drawing/2014/main" id="{BF3FDFB1-FE4B-4E00-8A5E-7C705C797B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58277" y="4843800"/>
            <a:ext cx="1357200" cy="1357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76" name="Textplatzhalter 11">
            <a:extLst>
              <a:ext uri="{FF2B5EF4-FFF2-40B4-BE49-F238E27FC236}">
                <a16:creationId xmlns:a16="http://schemas.microsoft.com/office/drawing/2014/main" id="{E1CC5647-09AC-43CF-8FB0-495250281B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82815" y="3326504"/>
            <a:ext cx="5259810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80" name="Textplatzhalter 11">
            <a:extLst>
              <a:ext uri="{FF2B5EF4-FFF2-40B4-BE49-F238E27FC236}">
                <a16:creationId xmlns:a16="http://schemas.microsoft.com/office/drawing/2014/main" id="{34482FC8-39A7-4E44-8BF0-6701234DA9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3265" y="3823736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81" name="Textplatzhalter 11">
            <a:extLst>
              <a:ext uri="{FF2B5EF4-FFF2-40B4-BE49-F238E27FC236}">
                <a16:creationId xmlns:a16="http://schemas.microsoft.com/office/drawing/2014/main" id="{03AE6129-D0F8-4E57-B4D8-ADE21CF624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73265" y="4034343"/>
            <a:ext cx="4969359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83" name="Textplatzhalter 11">
            <a:extLst>
              <a:ext uri="{FF2B5EF4-FFF2-40B4-BE49-F238E27FC236}">
                <a16:creationId xmlns:a16="http://schemas.microsoft.com/office/drawing/2014/main" id="{ED3F554C-E345-450A-9FA5-BA988E0D9B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82815" y="3544005"/>
            <a:ext cx="5259810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8" name="Textplatzhalter 11">
            <a:extLst>
              <a:ext uri="{FF2B5EF4-FFF2-40B4-BE49-F238E27FC236}">
                <a16:creationId xmlns:a16="http://schemas.microsoft.com/office/drawing/2014/main" id="{03464F00-E2CE-4EF3-B4D6-73F09D87EF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82814" y="4850504"/>
            <a:ext cx="5259809" cy="216000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54" name="Textplatzhalter 11">
            <a:extLst>
              <a:ext uri="{FF2B5EF4-FFF2-40B4-BE49-F238E27FC236}">
                <a16:creationId xmlns:a16="http://schemas.microsoft.com/office/drawing/2014/main" id="{315E5A50-1AD0-43A4-9E5E-507A33A226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82814" y="5068005"/>
            <a:ext cx="5259809" cy="21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E6AFFAD5-B741-4842-BF57-A739170380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73265" y="5347736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56" name="Textplatzhalter 11">
            <a:extLst>
              <a:ext uri="{FF2B5EF4-FFF2-40B4-BE49-F238E27FC236}">
                <a16:creationId xmlns:a16="http://schemas.microsoft.com/office/drawing/2014/main" id="{870B6530-504A-49B7-8D2E-F785F2B173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673265" y="5558343"/>
            <a:ext cx="4969358" cy="144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ADDD3474-BB18-4FE4-B07F-41C864C42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5232599-53B2-4520-923F-11F273D5C3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783FE58B-0FE9-4C0B-92C8-3B16153715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83DF9D7-ADE5-4760-90AC-4AB72BFFEE0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2513490"/>
            <a:ext cx="162000" cy="16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3AFF314-CF29-4D1C-ACDF-9DACD6219D4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0416" y="2306336"/>
            <a:ext cx="162000" cy="16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934C4E3-2D7B-4477-BF0A-4B9CB62C75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0416" y="4026129"/>
            <a:ext cx="162000" cy="16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20970E7-4372-49C3-90A2-185082034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3816174"/>
            <a:ext cx="162000" cy="16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68BB615-AACD-4B20-9F4C-0BD1B34D413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82814" y="5549343"/>
            <a:ext cx="162000" cy="162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601E5CBB-99FA-44DE-BD22-26F18A2E979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82814" y="5338736"/>
            <a:ext cx="162000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0641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1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2829C90-5D86-4C21-88CE-D32F8B602506}"/>
              </a:ext>
            </a:extLst>
          </p:cNvPr>
          <p:cNvSpPr/>
          <p:nvPr userDrawn="1"/>
        </p:nvSpPr>
        <p:spPr>
          <a:xfrm>
            <a:off x="339969" y="238126"/>
            <a:ext cx="11465169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1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7EBD8B3E-1EF0-4260-9B96-B63981505D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539" y="1449000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Lorem Ipsum Thank You for Your </a:t>
            </a:r>
            <a:br>
              <a:rPr lang="en-US" noProof="0"/>
            </a:br>
            <a:r>
              <a:rPr lang="en-US" noProof="0"/>
              <a:t>Attention</a:t>
            </a:r>
          </a:p>
        </p:txBody>
      </p:sp>
      <p:sp>
        <p:nvSpPr>
          <p:cNvPr id="29" name="Textplatzhalter 38">
            <a:extLst>
              <a:ext uri="{FF2B5EF4-FFF2-40B4-BE49-F238E27FC236}">
                <a16:creationId xmlns:a16="http://schemas.microsoft.com/office/drawing/2014/main" id="{31F9CB24-C951-491B-94A5-93BCD28B9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7539" y="2444401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BB69AF9-128B-4745-B95C-72CFA53827A8}"/>
              </a:ext>
            </a:extLst>
          </p:cNvPr>
          <p:cNvCxnSpPr>
            <a:cxnSpLocks/>
          </p:cNvCxnSpPr>
          <p:nvPr userDrawn="1"/>
        </p:nvCxnSpPr>
        <p:spPr>
          <a:xfrm>
            <a:off x="558277" y="3081600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5AEB2A05-54AF-476C-BD47-D4F5A4D64D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456" y="3657600"/>
            <a:ext cx="1764000" cy="176371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D93A3093-020E-4C4A-BB44-8E73D06E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80332" y="3657600"/>
            <a:ext cx="4763806" cy="234871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id="{60CA7A47-57E9-487D-AA1F-8A06FEF759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4674" y="4258972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E-Mail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EB971443-14B3-4564-B92A-16AA36DF7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4673" y="4566309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BC014FD6-2FE7-4F17-96C1-2281D981E3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4673" y="4875527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LinkedIn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3556376F-B2A9-40C5-A9E1-AC3E455FB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80332" y="3896405"/>
            <a:ext cx="4763806" cy="234872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Position/Organisation</a:t>
            </a:r>
          </a:p>
        </p:txBody>
      </p:sp>
      <p:sp>
        <p:nvSpPr>
          <p:cNvPr id="42" name="Textplatzhalter 11">
            <a:extLst>
              <a:ext uri="{FF2B5EF4-FFF2-40B4-BE49-F238E27FC236}">
                <a16:creationId xmlns:a16="http://schemas.microsoft.com/office/drawing/2014/main" id="{5325C0F0-1B0C-4E64-BC25-B07BCFBC98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4672" y="5186438"/>
            <a:ext cx="4309465" cy="23487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noProof="0"/>
              <a:t>Additional contact information</a:t>
            </a:r>
          </a:p>
        </p:txBody>
      </p:sp>
      <p:sp>
        <p:nvSpPr>
          <p:cNvPr id="44" name="Textplatzhalter 38">
            <a:extLst>
              <a:ext uri="{FF2B5EF4-FFF2-40B4-BE49-F238E27FC236}">
                <a16:creationId xmlns:a16="http://schemas.microsoft.com/office/drawing/2014/main" id="{FC8043D3-066C-4977-8E23-969B6531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8277" y="3225600"/>
            <a:ext cx="7086599" cy="288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Lorem Ipsum Contact: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AFC6A6-12D5-4484-89B1-AC5A580B06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ABD1613D-1FED-4613-934C-07ACA0847C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23F6635-6044-4708-9A51-4EA52F9EB6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4D215C3-1E88-46DE-ABEB-2DCCDD4F460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911" y="4593745"/>
            <a:ext cx="180000" cy="1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8A16194D-8343-483A-824E-D9D5179E358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78911" y="4899677"/>
            <a:ext cx="180000" cy="180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5547AE2-1C87-4CE6-BD2F-AE15294799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78911" y="4287813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617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2AA9AF9-C1E4-45D7-81EE-22A40C9977F1}"/>
              </a:ext>
            </a:extLst>
          </p:cNvPr>
          <p:cNvSpPr/>
          <p:nvPr userDrawn="1"/>
        </p:nvSpPr>
        <p:spPr>
          <a:xfrm>
            <a:off x="0" y="68262"/>
            <a:ext cx="12192000" cy="6789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8B9819-F136-4869-839D-BB089F223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00" y="1403759"/>
            <a:ext cx="7086599" cy="77628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osing Slid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9E3A918-C7A3-4B04-91C1-386B3A47E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77203" y="68262"/>
            <a:ext cx="4114800" cy="6789738"/>
          </a:xfrm>
          <a:solidFill>
            <a:schemeClr val="tx2">
              <a:alpha val="3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A6A1785-717B-4105-AEF1-3558EA09322A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7CB5CBC7-4143-4DEA-8809-9B114E002A7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550800" y="2398214"/>
            <a:ext cx="7086599" cy="49457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5160DD39-B6E4-4C35-9F28-B07F49DEFDF7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9F27BDD9-D063-403B-A5F1-57C38EF89F35}"/>
              </a:ext>
            </a:extLst>
          </p:cNvPr>
          <p:cNvCxnSpPr>
            <a:cxnSpLocks/>
          </p:cNvCxnSpPr>
          <p:nvPr userDrawn="1"/>
        </p:nvCxnSpPr>
        <p:spPr>
          <a:xfrm>
            <a:off x="550800" y="1243648"/>
            <a:ext cx="7086599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6B241954-CE54-4ED1-B39C-46A4A3819A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198150" y="410667"/>
            <a:ext cx="1490667" cy="58229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CE8F852C-CF63-456C-A9CF-3A6F9AB15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0837" y="407194"/>
            <a:ext cx="973932" cy="58988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3C75900-BC45-4EB3-AD1E-AF359B5DA5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2199" y="404813"/>
            <a:ext cx="1285200" cy="35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366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3C52494-2483-4841-B982-E2F113AE0D74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rgbClr val="4B4B4B"/>
          </a:solidFill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tx2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rgbClr val="4B4B4B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rgbClr val="4B4B4B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C7DE1A76-751E-4D18-8C75-BA2B4C038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8930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CA184500-8FBA-43ED-AB72-58250112CF59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C1BBFD50-AC67-42D2-B069-845E2B374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454622"/>
            <a:ext cx="5203943" cy="920067"/>
          </a:xfrm>
          <a:custGeom>
            <a:avLst/>
            <a:gdLst>
              <a:gd name="connsiteX0" fmla="*/ 805682 w 4228204"/>
              <a:gd name="connsiteY0" fmla="*/ 185520 h 920067"/>
              <a:gd name="connsiteX1" fmla="*/ 805682 w 4228204"/>
              <a:gd name="connsiteY1" fmla="*/ 730596 h 920067"/>
              <a:gd name="connsiteX2" fmla="*/ 827282 w 4228204"/>
              <a:gd name="connsiteY2" fmla="*/ 730596 h 920067"/>
              <a:gd name="connsiteX3" fmla="*/ 827282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5520"/>
                </a:moveTo>
                <a:lnTo>
                  <a:pt x="805682" y="730596"/>
                </a:lnTo>
                <a:lnTo>
                  <a:pt x="827282" y="730596"/>
                </a:lnTo>
                <a:lnTo>
                  <a:pt x="827282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FF4D1CD-7310-4F47-A531-B081E4A29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729988"/>
            <a:ext cx="5203943" cy="920067"/>
          </a:xfrm>
          <a:custGeom>
            <a:avLst/>
            <a:gdLst>
              <a:gd name="connsiteX0" fmla="*/ 805682 w 4228204"/>
              <a:gd name="connsiteY0" fmla="*/ 175252 h 920067"/>
              <a:gd name="connsiteX1" fmla="*/ 805682 w 4228204"/>
              <a:gd name="connsiteY1" fmla="*/ 720328 h 920067"/>
              <a:gd name="connsiteX2" fmla="*/ 827282 w 4228204"/>
              <a:gd name="connsiteY2" fmla="*/ 720328 h 920067"/>
              <a:gd name="connsiteX3" fmla="*/ 827282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75252"/>
                </a:moveTo>
                <a:lnTo>
                  <a:pt x="805682" y="720328"/>
                </a:lnTo>
                <a:lnTo>
                  <a:pt x="827282" y="720328"/>
                </a:lnTo>
                <a:lnTo>
                  <a:pt x="827282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B7ED82DA-2F7E-4A19-AC70-B35827D3F5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4005350"/>
            <a:ext cx="5203943" cy="920067"/>
          </a:xfrm>
          <a:custGeom>
            <a:avLst/>
            <a:gdLst>
              <a:gd name="connsiteX0" fmla="*/ 805682 w 4228204"/>
              <a:gd name="connsiteY0" fmla="*/ 189912 h 920067"/>
              <a:gd name="connsiteX1" fmla="*/ 805682 w 4228204"/>
              <a:gd name="connsiteY1" fmla="*/ 734988 h 920067"/>
              <a:gd name="connsiteX2" fmla="*/ 827282 w 4228204"/>
              <a:gd name="connsiteY2" fmla="*/ 734988 h 920067"/>
              <a:gd name="connsiteX3" fmla="*/ 827282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89912"/>
                </a:moveTo>
                <a:lnTo>
                  <a:pt x="805682" y="734988"/>
                </a:lnTo>
                <a:lnTo>
                  <a:pt x="827282" y="734988"/>
                </a:lnTo>
                <a:lnTo>
                  <a:pt x="827282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44A13067-6028-4186-8764-01D222AAD4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5280713"/>
            <a:ext cx="5203943" cy="920067"/>
          </a:xfrm>
          <a:custGeom>
            <a:avLst/>
            <a:gdLst>
              <a:gd name="connsiteX0" fmla="*/ 805682 w 4228204"/>
              <a:gd name="connsiteY0" fmla="*/ 191873 h 920067"/>
              <a:gd name="connsiteX1" fmla="*/ 805682 w 4228204"/>
              <a:gd name="connsiteY1" fmla="*/ 736949 h 920067"/>
              <a:gd name="connsiteX2" fmla="*/ 827282 w 4228204"/>
              <a:gd name="connsiteY2" fmla="*/ 736949 h 920067"/>
              <a:gd name="connsiteX3" fmla="*/ 827282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05682" y="191873"/>
                </a:moveTo>
                <a:lnTo>
                  <a:pt x="805682" y="736949"/>
                </a:lnTo>
                <a:lnTo>
                  <a:pt x="827282" y="736949"/>
                </a:lnTo>
                <a:lnTo>
                  <a:pt x="827282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70">
            <a:extLst>
              <a:ext uri="{FF2B5EF4-FFF2-40B4-BE49-F238E27FC236}">
                <a16:creationId xmlns:a16="http://schemas.microsoft.com/office/drawing/2014/main" id="{B4CF5608-10FA-4712-9790-79EFC49699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7196" y="1454622"/>
            <a:ext cx="5203943" cy="920067"/>
          </a:xfrm>
          <a:custGeom>
            <a:avLst/>
            <a:gdLst>
              <a:gd name="connsiteX0" fmla="*/ 822545 w 4228204"/>
              <a:gd name="connsiteY0" fmla="*/ 185520 h 920067"/>
              <a:gd name="connsiteX1" fmla="*/ 822545 w 4228204"/>
              <a:gd name="connsiteY1" fmla="*/ 730596 h 920067"/>
              <a:gd name="connsiteX2" fmla="*/ 844145 w 4228204"/>
              <a:gd name="connsiteY2" fmla="*/ 730596 h 920067"/>
              <a:gd name="connsiteX3" fmla="*/ 844145 w 4228204"/>
              <a:gd name="connsiteY3" fmla="*/ 185520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5520"/>
                </a:moveTo>
                <a:lnTo>
                  <a:pt x="822545" y="730596"/>
                </a:lnTo>
                <a:lnTo>
                  <a:pt x="844145" y="730596"/>
                </a:lnTo>
                <a:lnTo>
                  <a:pt x="844145" y="185520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69">
            <a:extLst>
              <a:ext uri="{FF2B5EF4-FFF2-40B4-BE49-F238E27FC236}">
                <a16:creationId xmlns:a16="http://schemas.microsoft.com/office/drawing/2014/main" id="{4E4A1239-75DF-42F8-8141-FF2897042E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7196" y="2729988"/>
            <a:ext cx="5203943" cy="920067"/>
          </a:xfrm>
          <a:custGeom>
            <a:avLst/>
            <a:gdLst>
              <a:gd name="connsiteX0" fmla="*/ 822545 w 4228204"/>
              <a:gd name="connsiteY0" fmla="*/ 175252 h 920067"/>
              <a:gd name="connsiteX1" fmla="*/ 822545 w 4228204"/>
              <a:gd name="connsiteY1" fmla="*/ 720328 h 920067"/>
              <a:gd name="connsiteX2" fmla="*/ 844145 w 4228204"/>
              <a:gd name="connsiteY2" fmla="*/ 720328 h 920067"/>
              <a:gd name="connsiteX3" fmla="*/ 844145 w 4228204"/>
              <a:gd name="connsiteY3" fmla="*/ 17525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75252"/>
                </a:moveTo>
                <a:lnTo>
                  <a:pt x="822545" y="720328"/>
                </a:lnTo>
                <a:lnTo>
                  <a:pt x="844145" y="720328"/>
                </a:lnTo>
                <a:lnTo>
                  <a:pt x="844145" y="17525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68">
            <a:extLst>
              <a:ext uri="{FF2B5EF4-FFF2-40B4-BE49-F238E27FC236}">
                <a16:creationId xmlns:a16="http://schemas.microsoft.com/office/drawing/2014/main" id="{D01902BB-CAAC-4D67-9821-70B9CFAE85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37196" y="4005350"/>
            <a:ext cx="5203943" cy="920067"/>
          </a:xfrm>
          <a:custGeom>
            <a:avLst/>
            <a:gdLst>
              <a:gd name="connsiteX0" fmla="*/ 822545 w 4228204"/>
              <a:gd name="connsiteY0" fmla="*/ 189912 h 920067"/>
              <a:gd name="connsiteX1" fmla="*/ 822545 w 4228204"/>
              <a:gd name="connsiteY1" fmla="*/ 734988 h 920067"/>
              <a:gd name="connsiteX2" fmla="*/ 844145 w 4228204"/>
              <a:gd name="connsiteY2" fmla="*/ 734988 h 920067"/>
              <a:gd name="connsiteX3" fmla="*/ 844145 w 4228204"/>
              <a:gd name="connsiteY3" fmla="*/ 189912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89912"/>
                </a:moveTo>
                <a:lnTo>
                  <a:pt x="822545" y="734988"/>
                </a:lnTo>
                <a:lnTo>
                  <a:pt x="844145" y="734988"/>
                </a:lnTo>
                <a:lnTo>
                  <a:pt x="844145" y="189912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67">
            <a:extLst>
              <a:ext uri="{FF2B5EF4-FFF2-40B4-BE49-F238E27FC236}">
                <a16:creationId xmlns:a16="http://schemas.microsoft.com/office/drawing/2014/main" id="{85BBCCD5-2975-4487-8168-030C907357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7196" y="5280713"/>
            <a:ext cx="5203943" cy="920067"/>
          </a:xfrm>
          <a:custGeom>
            <a:avLst/>
            <a:gdLst>
              <a:gd name="connsiteX0" fmla="*/ 822545 w 4228204"/>
              <a:gd name="connsiteY0" fmla="*/ 191873 h 920067"/>
              <a:gd name="connsiteX1" fmla="*/ 822545 w 4228204"/>
              <a:gd name="connsiteY1" fmla="*/ 736949 h 920067"/>
              <a:gd name="connsiteX2" fmla="*/ 844145 w 4228204"/>
              <a:gd name="connsiteY2" fmla="*/ 736949 h 920067"/>
              <a:gd name="connsiteX3" fmla="*/ 844145 w 4228204"/>
              <a:gd name="connsiteY3" fmla="*/ 191873 h 920067"/>
              <a:gd name="connsiteX4" fmla="*/ 0 w 4228204"/>
              <a:gd name="connsiteY4" fmla="*/ 0 h 920067"/>
              <a:gd name="connsiteX5" fmla="*/ 4228204 w 4228204"/>
              <a:gd name="connsiteY5" fmla="*/ 0 h 920067"/>
              <a:gd name="connsiteX6" fmla="*/ 4228204 w 4228204"/>
              <a:gd name="connsiteY6" fmla="*/ 920067 h 920067"/>
              <a:gd name="connsiteX7" fmla="*/ 0 w 4228204"/>
              <a:gd name="connsiteY7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28204" h="920067">
                <a:moveTo>
                  <a:pt x="822545" y="191873"/>
                </a:moveTo>
                <a:lnTo>
                  <a:pt x="822545" y="736949"/>
                </a:lnTo>
                <a:lnTo>
                  <a:pt x="844145" y="736949"/>
                </a:lnTo>
                <a:lnTo>
                  <a:pt x="844145" y="191873"/>
                </a:lnTo>
                <a:close/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1139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DF78CF7E-ECE5-4B2D-A483-3267534656C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57728" y="1662862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E3161E5D-F239-4697-B41B-8EA5EA589B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1139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8" name="Textplatzhalter 34">
            <a:extLst>
              <a:ext uri="{FF2B5EF4-FFF2-40B4-BE49-F238E27FC236}">
                <a16:creationId xmlns:a16="http://schemas.microsoft.com/office/drawing/2014/main" id="{92B7B467-A632-4523-BEC0-4C986340B0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7728" y="294018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39" name="Textplatzhalter 34">
            <a:extLst>
              <a:ext uri="{FF2B5EF4-FFF2-40B4-BE49-F238E27FC236}">
                <a16:creationId xmlns:a16="http://schemas.microsoft.com/office/drawing/2014/main" id="{D0B42C69-ACA8-4476-9DC5-005181EF4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1139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0" name="Textplatzhalter 34">
            <a:extLst>
              <a:ext uri="{FF2B5EF4-FFF2-40B4-BE49-F238E27FC236}">
                <a16:creationId xmlns:a16="http://schemas.microsoft.com/office/drawing/2014/main" id="{C04219E5-7AE1-4571-882B-172196EFD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57728" y="4217495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1" name="Textplatzhalter 34">
            <a:extLst>
              <a:ext uri="{FF2B5EF4-FFF2-40B4-BE49-F238E27FC236}">
                <a16:creationId xmlns:a16="http://schemas.microsoft.com/office/drawing/2014/main" id="{E124A814-FF1D-44B1-9CCF-59D063116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21139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42" name="Textplatzhalter 34">
            <a:extLst>
              <a:ext uri="{FF2B5EF4-FFF2-40B4-BE49-F238E27FC236}">
                <a16:creationId xmlns:a16="http://schemas.microsoft.com/office/drawing/2014/main" id="{3B7C896C-7C0D-4D29-A70A-A8A93AB19C3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57728" y="5494810"/>
            <a:ext cx="3853062" cy="48834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55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662C58B3-C6CB-40C4-9846-6885043CEA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17601" y="1618410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BBC47D04-2291-4541-ABDF-3BDD7D8903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3155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9226F664-073C-478A-8241-1E5CABD99A8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7601" y="2900116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1A3A934F-49BD-4AD8-99B7-4931CC4FE5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155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9EEA1254-1634-410B-B7D5-F19740479B1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17601" y="4181822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847DD741-14CE-4133-B69A-0617633EF1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3155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F4FC7902-AE67-46D0-AF05-BAD44F5D755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17601" y="5463528"/>
            <a:ext cx="792940" cy="566808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31" name="Fußzeilenplatzhalter 12">
            <a:extLst>
              <a:ext uri="{FF2B5EF4-FFF2-40B4-BE49-F238E27FC236}">
                <a16:creationId xmlns:a16="http://schemas.microsoft.com/office/drawing/2014/main" id="{4BEA234A-56EB-47F0-B76F-074CD842C3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3043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Alternative_Z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05F4C9-598F-4E78-848E-9BB6ADD0DA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 with time re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C3FEB9-7D39-44AE-91BC-8FAEC3D7E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61DAECD-170E-4628-B525-A254272D6BE5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0E1C69-351D-4576-85E4-3C7A7054E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4647E8F-5052-4581-98D0-7C32D5A4534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8B7B5D-4086-4670-B51A-7FEB605EF0BB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9967132-7FB3-44D9-B340-D5C95C115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847" y="1449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3408404-C5AA-4DCA-8A39-B52DB299C3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27123" y="1553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9E88F6D-A221-4CE2-A357-0E8A5300C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139" y="1533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77" name="Inhaltsplatzhalter 9">
            <a:extLst>
              <a:ext uri="{FF2B5EF4-FFF2-40B4-BE49-F238E27FC236}">
                <a16:creationId xmlns:a16="http://schemas.microsoft.com/office/drawing/2014/main" id="{229D505F-0EB3-46B1-BD92-CDF8A11C324E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552331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Inhaltsplatzhalter 9">
            <a:extLst>
              <a:ext uri="{FF2B5EF4-FFF2-40B4-BE49-F238E27FC236}">
                <a16:creationId xmlns:a16="http://schemas.microsoft.com/office/drawing/2014/main" id="{17AE42E5-158A-478C-9789-64472AF09C90}"/>
              </a:ext>
            </a:extLst>
          </p:cNvPr>
          <p:cNvSpPr>
            <a:spLocks noGrp="1"/>
          </p:cNvSpPr>
          <p:nvPr>
            <p:ph sz="quarter" idx="54" hasCustomPrompt="1"/>
          </p:nvPr>
        </p:nvSpPr>
        <p:spPr>
          <a:xfrm>
            <a:off x="5760000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4" name="Textplatzhalter 34">
            <a:extLst>
              <a:ext uri="{FF2B5EF4-FFF2-40B4-BE49-F238E27FC236}">
                <a16:creationId xmlns:a16="http://schemas.microsoft.com/office/drawing/2014/main" id="{5890096B-CE06-4B93-A46A-51EBAB485CC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37231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46" name="Inhaltsplatzhalter 9">
            <a:extLst>
              <a:ext uri="{FF2B5EF4-FFF2-40B4-BE49-F238E27FC236}">
                <a16:creationId xmlns:a16="http://schemas.microsoft.com/office/drawing/2014/main" id="{36C4410E-166F-4B7F-9C6D-41BC42DC603D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8684308" y="1539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7" name="Textplatzhalter 34">
            <a:extLst>
              <a:ext uri="{FF2B5EF4-FFF2-40B4-BE49-F238E27FC236}">
                <a16:creationId xmlns:a16="http://schemas.microsoft.com/office/drawing/2014/main" id="{3521441E-F90E-4D97-A0BF-F6931EB7093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905846" y="1553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48" name="Textplatzhalter 32">
            <a:extLst>
              <a:ext uri="{FF2B5EF4-FFF2-40B4-BE49-F238E27FC236}">
                <a16:creationId xmlns:a16="http://schemas.microsoft.com/office/drawing/2014/main" id="{710FD8FB-44A5-4E60-BFA5-CC6B0551A7F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55509" y="2066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4">
            <a:extLst>
              <a:ext uri="{FF2B5EF4-FFF2-40B4-BE49-F238E27FC236}">
                <a16:creationId xmlns:a16="http://schemas.microsoft.com/office/drawing/2014/main" id="{FACF348C-FB52-450C-96D5-D761EE9389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725785" y="2170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50" name="Textplatzhalter 51">
            <a:extLst>
              <a:ext uri="{FF2B5EF4-FFF2-40B4-BE49-F238E27FC236}">
                <a16:creationId xmlns:a16="http://schemas.microsoft.com/office/drawing/2014/main" id="{396278A5-AEC5-49D0-BAD3-07EA10DB104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7801" y="2151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51" name="Inhaltsplatzhalter 9">
            <a:extLst>
              <a:ext uri="{FF2B5EF4-FFF2-40B4-BE49-F238E27FC236}">
                <a16:creationId xmlns:a16="http://schemas.microsoft.com/office/drawing/2014/main" id="{84DD963F-1914-487D-AB8F-3D3384818A3F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550993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Inhaltsplatzhalter 9">
            <a:extLst>
              <a:ext uri="{FF2B5EF4-FFF2-40B4-BE49-F238E27FC236}">
                <a16:creationId xmlns:a16="http://schemas.microsoft.com/office/drawing/2014/main" id="{314DD3BE-369B-46E6-9686-0434D228AC0D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5758662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34">
            <a:extLst>
              <a:ext uri="{FF2B5EF4-FFF2-40B4-BE49-F238E27FC236}">
                <a16:creationId xmlns:a16="http://schemas.microsoft.com/office/drawing/2014/main" id="{825B2A1F-E37B-4E4E-9C9F-377CA4DFA9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5893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65" name="Inhaltsplatzhalter 9">
            <a:extLst>
              <a:ext uri="{FF2B5EF4-FFF2-40B4-BE49-F238E27FC236}">
                <a16:creationId xmlns:a16="http://schemas.microsoft.com/office/drawing/2014/main" id="{C084EE12-62C6-4961-AD51-F63CBE5A4CDA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8682970" y="2156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6" name="Textplatzhalter 34">
            <a:extLst>
              <a:ext uri="{FF2B5EF4-FFF2-40B4-BE49-F238E27FC236}">
                <a16:creationId xmlns:a16="http://schemas.microsoft.com/office/drawing/2014/main" id="{DFC088F1-D484-4855-9CA4-24B851808FD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904508" y="2170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67" name="Textplatzhalter 32">
            <a:extLst>
              <a:ext uri="{FF2B5EF4-FFF2-40B4-BE49-F238E27FC236}">
                <a16:creationId xmlns:a16="http://schemas.microsoft.com/office/drawing/2014/main" id="{C4FD40E8-C6A7-4BDB-B195-68E0670DAC4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5509" y="2682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8" name="Textplatzhalter 32">
            <a:extLst>
              <a:ext uri="{FF2B5EF4-FFF2-40B4-BE49-F238E27FC236}">
                <a16:creationId xmlns:a16="http://schemas.microsoft.com/office/drawing/2014/main" id="{4D6DA363-BD58-4B50-9EFC-AFCC81C3C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55509" y="32976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9" name="Textplatzhalter 32">
            <a:extLst>
              <a:ext uri="{FF2B5EF4-FFF2-40B4-BE49-F238E27FC236}">
                <a16:creationId xmlns:a16="http://schemas.microsoft.com/office/drawing/2014/main" id="{735CA0CC-8781-4D64-9B38-16465780221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55509" y="39132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0" name="Textplatzhalter 32">
            <a:extLst>
              <a:ext uri="{FF2B5EF4-FFF2-40B4-BE49-F238E27FC236}">
                <a16:creationId xmlns:a16="http://schemas.microsoft.com/office/drawing/2014/main" id="{9E526531-BD00-4913-A003-1CFDDA2B90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5509" y="45288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71" name="Textplatzhalter 32">
            <a:extLst>
              <a:ext uri="{FF2B5EF4-FFF2-40B4-BE49-F238E27FC236}">
                <a16:creationId xmlns:a16="http://schemas.microsoft.com/office/drawing/2014/main" id="{2A7538D1-CB34-4E76-ADC0-CBE0BF1D08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5509" y="51444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3" name="Textplatzhalter 32">
            <a:extLst>
              <a:ext uri="{FF2B5EF4-FFF2-40B4-BE49-F238E27FC236}">
                <a16:creationId xmlns:a16="http://schemas.microsoft.com/office/drawing/2014/main" id="{23EDE4BB-056F-48DA-9ED7-F4BB9881B5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55509" y="5760000"/>
            <a:ext cx="11080982" cy="453600"/>
          </a:xfrm>
          <a:custGeom>
            <a:avLst/>
            <a:gdLst>
              <a:gd name="connsiteX0" fmla="*/ 0 w 4228204"/>
              <a:gd name="connsiteY0" fmla="*/ 0 h 920067"/>
              <a:gd name="connsiteX1" fmla="*/ 4228204 w 4228204"/>
              <a:gd name="connsiteY1" fmla="*/ 0 h 920067"/>
              <a:gd name="connsiteX2" fmla="*/ 4228204 w 4228204"/>
              <a:gd name="connsiteY2" fmla="*/ 920067 h 920067"/>
              <a:gd name="connsiteX3" fmla="*/ 0 w 4228204"/>
              <a:gd name="connsiteY3" fmla="*/ 920067 h 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28204" h="920067">
                <a:moveTo>
                  <a:pt x="0" y="0"/>
                </a:moveTo>
                <a:lnTo>
                  <a:pt x="4228204" y="0"/>
                </a:lnTo>
                <a:lnTo>
                  <a:pt x="4228204" y="920067"/>
                </a:lnTo>
                <a:lnTo>
                  <a:pt x="0" y="9200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4" name="Textplatzhalter 34">
            <a:extLst>
              <a:ext uri="{FF2B5EF4-FFF2-40B4-BE49-F238E27FC236}">
                <a16:creationId xmlns:a16="http://schemas.microsoft.com/office/drawing/2014/main" id="{218CFB87-C4D6-4412-9CC1-F0ACCCD4348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725785" y="2786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85" name="Textplatzhalter 51">
            <a:extLst>
              <a:ext uri="{FF2B5EF4-FFF2-40B4-BE49-F238E27FC236}">
                <a16:creationId xmlns:a16="http://schemas.microsoft.com/office/drawing/2014/main" id="{11D606FC-E925-4633-9212-D580DA4DDA1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27801" y="2766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86" name="Inhaltsplatzhalter 9">
            <a:extLst>
              <a:ext uri="{FF2B5EF4-FFF2-40B4-BE49-F238E27FC236}">
                <a16:creationId xmlns:a16="http://schemas.microsoft.com/office/drawing/2014/main" id="{2F1BD2CF-2D37-4E1B-A917-7246A44EA679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1550993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7" name="Inhaltsplatzhalter 9">
            <a:extLst>
              <a:ext uri="{FF2B5EF4-FFF2-40B4-BE49-F238E27FC236}">
                <a16:creationId xmlns:a16="http://schemas.microsoft.com/office/drawing/2014/main" id="{8A6B9C23-A1C5-4587-987B-28EF09DA7CE5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5758662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8" name="Textplatzhalter 34">
            <a:extLst>
              <a:ext uri="{FF2B5EF4-FFF2-40B4-BE49-F238E27FC236}">
                <a16:creationId xmlns:a16="http://schemas.microsoft.com/office/drawing/2014/main" id="{2EA21878-2CEA-4860-8B09-6592A648268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935893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89" name="Inhaltsplatzhalter 9">
            <a:extLst>
              <a:ext uri="{FF2B5EF4-FFF2-40B4-BE49-F238E27FC236}">
                <a16:creationId xmlns:a16="http://schemas.microsoft.com/office/drawing/2014/main" id="{41B03C3C-26E5-4AC1-A453-A96C67324A98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8682970" y="2772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0" name="Textplatzhalter 34">
            <a:extLst>
              <a:ext uri="{FF2B5EF4-FFF2-40B4-BE49-F238E27FC236}">
                <a16:creationId xmlns:a16="http://schemas.microsoft.com/office/drawing/2014/main" id="{A3F55094-C7B5-45EE-8CC6-BA8048DD50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904508" y="2786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1" name="Textplatzhalter 34">
            <a:extLst>
              <a:ext uri="{FF2B5EF4-FFF2-40B4-BE49-F238E27FC236}">
                <a16:creationId xmlns:a16="http://schemas.microsoft.com/office/drawing/2014/main" id="{747D23DA-6B95-4FE5-97A9-0024CF41F14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725785" y="34020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2" name="Textplatzhalter 51">
            <a:extLst>
              <a:ext uri="{FF2B5EF4-FFF2-40B4-BE49-F238E27FC236}">
                <a16:creationId xmlns:a16="http://schemas.microsoft.com/office/drawing/2014/main" id="{26182251-C70E-487E-A3EE-7B77717696F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7801" y="33822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93" name="Inhaltsplatzhalter 9">
            <a:extLst>
              <a:ext uri="{FF2B5EF4-FFF2-40B4-BE49-F238E27FC236}">
                <a16:creationId xmlns:a16="http://schemas.microsoft.com/office/drawing/2014/main" id="{A44EFC04-7E0B-4C61-AAD1-E6A8B0C02ED9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1550993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4" name="Inhaltsplatzhalter 9">
            <a:extLst>
              <a:ext uri="{FF2B5EF4-FFF2-40B4-BE49-F238E27FC236}">
                <a16:creationId xmlns:a16="http://schemas.microsoft.com/office/drawing/2014/main" id="{6B2BC7F3-D9B0-4413-881B-297A030C2E37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5758662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5" name="Textplatzhalter 34">
            <a:extLst>
              <a:ext uri="{FF2B5EF4-FFF2-40B4-BE49-F238E27FC236}">
                <a16:creationId xmlns:a16="http://schemas.microsoft.com/office/drawing/2014/main" id="{75C77310-22B1-4803-A446-877791B5F50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935893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96" name="Inhaltsplatzhalter 9">
            <a:extLst>
              <a:ext uri="{FF2B5EF4-FFF2-40B4-BE49-F238E27FC236}">
                <a16:creationId xmlns:a16="http://schemas.microsoft.com/office/drawing/2014/main" id="{0E76A311-CDB1-4A34-A184-52802DFEB4CF}"/>
              </a:ext>
            </a:extLst>
          </p:cNvPr>
          <p:cNvSpPr>
            <a:spLocks noGrp="1"/>
          </p:cNvSpPr>
          <p:nvPr>
            <p:ph sz="quarter" idx="84" hasCustomPrompt="1"/>
          </p:nvPr>
        </p:nvSpPr>
        <p:spPr>
          <a:xfrm>
            <a:off x="8682970" y="33876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7" name="Textplatzhalter 34">
            <a:extLst>
              <a:ext uri="{FF2B5EF4-FFF2-40B4-BE49-F238E27FC236}">
                <a16:creationId xmlns:a16="http://schemas.microsoft.com/office/drawing/2014/main" id="{AA4ADE18-E6AE-40A5-9A46-7C9AE604936B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904508" y="34020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98" name="Textplatzhalter 34">
            <a:extLst>
              <a:ext uri="{FF2B5EF4-FFF2-40B4-BE49-F238E27FC236}">
                <a16:creationId xmlns:a16="http://schemas.microsoft.com/office/drawing/2014/main" id="{393B03C4-338A-4DAD-912F-3DEBEA3C9B6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725785" y="40176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99" name="Textplatzhalter 51">
            <a:extLst>
              <a:ext uri="{FF2B5EF4-FFF2-40B4-BE49-F238E27FC236}">
                <a16:creationId xmlns:a16="http://schemas.microsoft.com/office/drawing/2014/main" id="{EB0B5C89-328D-4B85-82AB-9BF7A0D14BD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27801" y="39978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0" name="Inhaltsplatzhalter 9">
            <a:extLst>
              <a:ext uri="{FF2B5EF4-FFF2-40B4-BE49-F238E27FC236}">
                <a16:creationId xmlns:a16="http://schemas.microsoft.com/office/drawing/2014/main" id="{B5B36F74-E228-4115-814F-E92B66DDDB5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1550993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1" name="Inhaltsplatzhalter 9">
            <a:extLst>
              <a:ext uri="{FF2B5EF4-FFF2-40B4-BE49-F238E27FC236}">
                <a16:creationId xmlns:a16="http://schemas.microsoft.com/office/drawing/2014/main" id="{5F8885E2-87F6-4A52-A89C-7806DA8B5400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5758662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2" name="Textplatzhalter 34">
            <a:extLst>
              <a:ext uri="{FF2B5EF4-FFF2-40B4-BE49-F238E27FC236}">
                <a16:creationId xmlns:a16="http://schemas.microsoft.com/office/drawing/2014/main" id="{20937498-592B-4E68-9E53-88D9C1B5AF9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935893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03" name="Inhaltsplatzhalter 9">
            <a:extLst>
              <a:ext uri="{FF2B5EF4-FFF2-40B4-BE49-F238E27FC236}">
                <a16:creationId xmlns:a16="http://schemas.microsoft.com/office/drawing/2014/main" id="{4DFD59D8-DC66-4BF5-A3F3-23BB2055E9D2}"/>
              </a:ext>
            </a:extLst>
          </p:cNvPr>
          <p:cNvSpPr>
            <a:spLocks noGrp="1"/>
          </p:cNvSpPr>
          <p:nvPr>
            <p:ph sz="quarter" idx="91" hasCustomPrompt="1"/>
          </p:nvPr>
        </p:nvSpPr>
        <p:spPr>
          <a:xfrm>
            <a:off x="8682970" y="40032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4" name="Textplatzhalter 34">
            <a:extLst>
              <a:ext uri="{FF2B5EF4-FFF2-40B4-BE49-F238E27FC236}">
                <a16:creationId xmlns:a16="http://schemas.microsoft.com/office/drawing/2014/main" id="{8473ADE6-F742-471C-B4DD-635C060B55C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904508" y="40176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05" name="Textplatzhalter 34">
            <a:extLst>
              <a:ext uri="{FF2B5EF4-FFF2-40B4-BE49-F238E27FC236}">
                <a16:creationId xmlns:a16="http://schemas.microsoft.com/office/drawing/2014/main" id="{0A3DD65E-FCB5-4E1B-BCD8-21941955180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1725785" y="46332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06" name="Textplatzhalter 51">
            <a:extLst>
              <a:ext uri="{FF2B5EF4-FFF2-40B4-BE49-F238E27FC236}">
                <a16:creationId xmlns:a16="http://schemas.microsoft.com/office/drawing/2014/main" id="{96CFB615-1E30-4863-91D4-96A1402468AB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7801" y="46134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07" name="Inhaltsplatzhalter 9">
            <a:extLst>
              <a:ext uri="{FF2B5EF4-FFF2-40B4-BE49-F238E27FC236}">
                <a16:creationId xmlns:a16="http://schemas.microsoft.com/office/drawing/2014/main" id="{578020C3-2AAD-432D-89F3-11B3A7902B8F}"/>
              </a:ext>
            </a:extLst>
          </p:cNvPr>
          <p:cNvSpPr>
            <a:spLocks noGrp="1"/>
          </p:cNvSpPr>
          <p:nvPr>
            <p:ph sz="quarter" idx="95" hasCustomPrompt="1"/>
          </p:nvPr>
        </p:nvSpPr>
        <p:spPr>
          <a:xfrm>
            <a:off x="1550993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8" name="Inhaltsplatzhalter 9">
            <a:extLst>
              <a:ext uri="{FF2B5EF4-FFF2-40B4-BE49-F238E27FC236}">
                <a16:creationId xmlns:a16="http://schemas.microsoft.com/office/drawing/2014/main" id="{707AABF3-9623-4ABC-B87D-9FACC1E091E2}"/>
              </a:ext>
            </a:extLst>
          </p:cNvPr>
          <p:cNvSpPr>
            <a:spLocks noGrp="1"/>
          </p:cNvSpPr>
          <p:nvPr>
            <p:ph sz="quarter" idx="96" hasCustomPrompt="1"/>
          </p:nvPr>
        </p:nvSpPr>
        <p:spPr>
          <a:xfrm>
            <a:off x="5758662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9" name="Textplatzhalter 34">
            <a:extLst>
              <a:ext uri="{FF2B5EF4-FFF2-40B4-BE49-F238E27FC236}">
                <a16:creationId xmlns:a16="http://schemas.microsoft.com/office/drawing/2014/main" id="{14F30F9F-3754-4AF7-95BF-2FAE7A9923C2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5935893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0" name="Inhaltsplatzhalter 9">
            <a:extLst>
              <a:ext uri="{FF2B5EF4-FFF2-40B4-BE49-F238E27FC236}">
                <a16:creationId xmlns:a16="http://schemas.microsoft.com/office/drawing/2014/main" id="{8B341007-1860-4BA9-BF84-4AD2512EBEFA}"/>
              </a:ext>
            </a:extLst>
          </p:cNvPr>
          <p:cNvSpPr>
            <a:spLocks noGrp="1"/>
          </p:cNvSpPr>
          <p:nvPr>
            <p:ph sz="quarter" idx="98" hasCustomPrompt="1"/>
          </p:nvPr>
        </p:nvSpPr>
        <p:spPr>
          <a:xfrm>
            <a:off x="8682970" y="46188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1" name="Textplatzhalter 34">
            <a:extLst>
              <a:ext uri="{FF2B5EF4-FFF2-40B4-BE49-F238E27FC236}">
                <a16:creationId xmlns:a16="http://schemas.microsoft.com/office/drawing/2014/main" id="{D447C4A6-7D26-4540-9E9D-6700F36BC66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8904508" y="46332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2" name="Textplatzhalter 34">
            <a:extLst>
              <a:ext uri="{FF2B5EF4-FFF2-40B4-BE49-F238E27FC236}">
                <a16:creationId xmlns:a16="http://schemas.microsoft.com/office/drawing/2014/main" id="{510DDB89-F752-4905-867B-3364FEF79C9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1725785" y="52488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13" name="Textplatzhalter 51">
            <a:extLst>
              <a:ext uri="{FF2B5EF4-FFF2-40B4-BE49-F238E27FC236}">
                <a16:creationId xmlns:a16="http://schemas.microsoft.com/office/drawing/2014/main" id="{33D7A0AE-7003-46BF-8DA2-649AEE49F65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7801" y="52290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14" name="Inhaltsplatzhalter 9">
            <a:extLst>
              <a:ext uri="{FF2B5EF4-FFF2-40B4-BE49-F238E27FC236}">
                <a16:creationId xmlns:a16="http://schemas.microsoft.com/office/drawing/2014/main" id="{D97AC346-D6D8-4AFB-900F-36C382D9DF9A}"/>
              </a:ext>
            </a:extLst>
          </p:cNvPr>
          <p:cNvSpPr>
            <a:spLocks noGrp="1"/>
          </p:cNvSpPr>
          <p:nvPr>
            <p:ph sz="quarter" idx="102" hasCustomPrompt="1"/>
          </p:nvPr>
        </p:nvSpPr>
        <p:spPr>
          <a:xfrm>
            <a:off x="1550993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5" name="Inhaltsplatzhalter 9">
            <a:extLst>
              <a:ext uri="{FF2B5EF4-FFF2-40B4-BE49-F238E27FC236}">
                <a16:creationId xmlns:a16="http://schemas.microsoft.com/office/drawing/2014/main" id="{30C4EEDE-0D9A-4C9D-84C7-EA59D72259AC}"/>
              </a:ext>
            </a:extLst>
          </p:cNvPr>
          <p:cNvSpPr>
            <a:spLocks noGrp="1"/>
          </p:cNvSpPr>
          <p:nvPr>
            <p:ph sz="quarter" idx="103" hasCustomPrompt="1"/>
          </p:nvPr>
        </p:nvSpPr>
        <p:spPr>
          <a:xfrm>
            <a:off x="5758662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6" name="Textplatzhalter 34">
            <a:extLst>
              <a:ext uri="{FF2B5EF4-FFF2-40B4-BE49-F238E27FC236}">
                <a16:creationId xmlns:a16="http://schemas.microsoft.com/office/drawing/2014/main" id="{655423AB-6705-45AD-9BB3-0A2641B1B00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935893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17" name="Inhaltsplatzhalter 9">
            <a:extLst>
              <a:ext uri="{FF2B5EF4-FFF2-40B4-BE49-F238E27FC236}">
                <a16:creationId xmlns:a16="http://schemas.microsoft.com/office/drawing/2014/main" id="{8ABC8845-28E0-45E2-B9F6-E82F25F5BB05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8682970" y="52344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8" name="Textplatzhalter 34">
            <a:extLst>
              <a:ext uri="{FF2B5EF4-FFF2-40B4-BE49-F238E27FC236}">
                <a16:creationId xmlns:a16="http://schemas.microsoft.com/office/drawing/2014/main" id="{36D3DD99-9940-4DA7-8508-CC6E8C32F26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904508" y="52488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119" name="Textplatzhalter 34">
            <a:extLst>
              <a:ext uri="{FF2B5EF4-FFF2-40B4-BE49-F238E27FC236}">
                <a16:creationId xmlns:a16="http://schemas.microsoft.com/office/drawing/2014/main" id="{D076B3B1-5EF5-4271-B17F-9E7D52AE5E5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1725785" y="5864400"/>
            <a:ext cx="3853062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</a:t>
            </a:r>
          </a:p>
        </p:txBody>
      </p:sp>
      <p:sp>
        <p:nvSpPr>
          <p:cNvPr id="120" name="Textplatzhalter 51">
            <a:extLst>
              <a:ext uri="{FF2B5EF4-FFF2-40B4-BE49-F238E27FC236}">
                <a16:creationId xmlns:a16="http://schemas.microsoft.com/office/drawing/2014/main" id="{7ECB719E-0B86-4AA6-9EDF-C60419182D9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7801" y="5844600"/>
            <a:ext cx="792940" cy="284400"/>
          </a:xfrm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2800" b="0" dirty="0">
                <a:solidFill>
                  <a:schemeClr val="bg1"/>
                </a:solidFill>
              </a:defRPr>
            </a:lvl1pPr>
          </a:lstStyle>
          <a:p>
            <a:pPr marL="185738" lvl="0" indent="-185738" algn="r" defTabSz="914400"/>
            <a:r>
              <a:rPr lang="en-US" noProof="0"/>
              <a:t>00</a:t>
            </a:r>
          </a:p>
        </p:txBody>
      </p:sp>
      <p:sp>
        <p:nvSpPr>
          <p:cNvPr id="121" name="Inhaltsplatzhalter 9">
            <a:extLst>
              <a:ext uri="{FF2B5EF4-FFF2-40B4-BE49-F238E27FC236}">
                <a16:creationId xmlns:a16="http://schemas.microsoft.com/office/drawing/2014/main" id="{0F005E89-9A6D-4F29-97C0-099D1D18D41D}"/>
              </a:ext>
            </a:extLst>
          </p:cNvPr>
          <p:cNvSpPr>
            <a:spLocks noGrp="1"/>
          </p:cNvSpPr>
          <p:nvPr>
            <p:ph sz="quarter" idx="109" hasCustomPrompt="1"/>
          </p:nvPr>
        </p:nvSpPr>
        <p:spPr>
          <a:xfrm>
            <a:off x="1550993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2" name="Inhaltsplatzhalter 9">
            <a:extLst>
              <a:ext uri="{FF2B5EF4-FFF2-40B4-BE49-F238E27FC236}">
                <a16:creationId xmlns:a16="http://schemas.microsoft.com/office/drawing/2014/main" id="{D18C5A24-39D4-4223-826E-1449C874926A}"/>
              </a:ext>
            </a:extLst>
          </p:cNvPr>
          <p:cNvSpPr>
            <a:spLocks noGrp="1"/>
          </p:cNvSpPr>
          <p:nvPr>
            <p:ph sz="quarter" idx="110" hasCustomPrompt="1"/>
          </p:nvPr>
        </p:nvSpPr>
        <p:spPr>
          <a:xfrm>
            <a:off x="5758662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3" name="Textplatzhalter 34">
            <a:extLst>
              <a:ext uri="{FF2B5EF4-FFF2-40B4-BE49-F238E27FC236}">
                <a16:creationId xmlns:a16="http://schemas.microsoft.com/office/drawing/2014/main" id="{BCEE31BF-48D2-4214-9D85-9E0FAF14A55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5935893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/>
              <a:t>00:00 am – 00:00 am</a:t>
            </a:r>
          </a:p>
        </p:txBody>
      </p:sp>
      <p:sp>
        <p:nvSpPr>
          <p:cNvPr id="124" name="Inhaltsplatzhalter 9">
            <a:extLst>
              <a:ext uri="{FF2B5EF4-FFF2-40B4-BE49-F238E27FC236}">
                <a16:creationId xmlns:a16="http://schemas.microsoft.com/office/drawing/2014/main" id="{0B52864E-1CC5-4D80-8FEE-A99ABD126139}"/>
              </a:ext>
            </a:extLst>
          </p:cNvPr>
          <p:cNvSpPr>
            <a:spLocks noGrp="1"/>
          </p:cNvSpPr>
          <p:nvPr>
            <p:ph sz="quarter" idx="112" hasCustomPrompt="1"/>
          </p:nvPr>
        </p:nvSpPr>
        <p:spPr>
          <a:xfrm>
            <a:off x="8682970" y="5850000"/>
            <a:ext cx="26585" cy="2736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5" name="Textplatzhalter 34">
            <a:extLst>
              <a:ext uri="{FF2B5EF4-FFF2-40B4-BE49-F238E27FC236}">
                <a16:creationId xmlns:a16="http://schemas.microsoft.com/office/drawing/2014/main" id="{0691A1D7-EF77-4AD3-93E0-E59A81BB4470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904508" y="5864400"/>
            <a:ext cx="2569846" cy="2448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Presenter</a:t>
            </a:r>
          </a:p>
        </p:txBody>
      </p:sp>
      <p:sp>
        <p:nvSpPr>
          <p:cNvPr id="72" name="Fußzeilenplatzhalter 12">
            <a:extLst>
              <a:ext uri="{FF2B5EF4-FFF2-40B4-BE49-F238E27FC236}">
                <a16:creationId xmlns:a16="http://schemas.microsoft.com/office/drawing/2014/main" id="{AF3C72FA-3446-4DA3-BA66-3CF927EBB6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7651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0"/>
            <a:ext cx="12192000" cy="6129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rgbClr val="4B4B4B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rgbClr val="4B4B4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A7AFDF6E-5108-4973-9D2D-67ADFDD4A12D}"/>
              </a:ext>
            </a:extLst>
          </p:cNvPr>
          <p:cNvSpPr/>
          <p:nvPr userDrawn="1"/>
        </p:nvSpPr>
        <p:spPr>
          <a:xfrm>
            <a:off x="0" y="0"/>
            <a:ext cx="12192000" cy="682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19" name="Bildplatzhalter 2">
            <a:extLst>
              <a:ext uri="{FF2B5EF4-FFF2-40B4-BE49-F238E27FC236}">
                <a16:creationId xmlns:a16="http://schemas.microsoft.com/office/drawing/2014/main" id="{573B162B-FDFC-4DCE-9D60-1ACFB47A97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27F698C-DFBC-4237-9CE5-F3928EF2F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0F88ED0-113C-47F0-9DE1-E721839838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62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hteck 141">
            <a:extLst>
              <a:ext uri="{FF2B5EF4-FFF2-40B4-BE49-F238E27FC236}">
                <a16:creationId xmlns:a16="http://schemas.microsoft.com/office/drawing/2014/main" id="{7EDD7C82-C014-479F-9CDC-0ED1064608F9}"/>
              </a:ext>
            </a:extLst>
          </p:cNvPr>
          <p:cNvSpPr/>
          <p:nvPr userDrawn="1"/>
        </p:nvSpPr>
        <p:spPr>
          <a:xfrm>
            <a:off x="0" y="6129338"/>
            <a:ext cx="12192000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D3C83F6-AD8B-4C81-880A-7C6FF8D63F47}"/>
              </a:ext>
            </a:extLst>
          </p:cNvPr>
          <p:cNvSpPr/>
          <p:nvPr userDrawn="1"/>
        </p:nvSpPr>
        <p:spPr>
          <a:xfrm>
            <a:off x="0" y="-1"/>
            <a:ext cx="12192000" cy="6200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0F8827-7DAE-427E-829A-1C7812127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031" y="3498044"/>
            <a:ext cx="8172000" cy="789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Separator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CA1F0A7-CC4C-48B8-BA2B-81A4E8632408}"/>
              </a:ext>
            </a:extLst>
          </p:cNvPr>
          <p:cNvCxnSpPr>
            <a:cxnSpLocks/>
          </p:cNvCxnSpPr>
          <p:nvPr userDrawn="1"/>
        </p:nvCxnSpPr>
        <p:spPr>
          <a:xfrm>
            <a:off x="556847" y="4454307"/>
            <a:ext cx="1108429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3C56A2-0AC3-476F-BFEE-274669F5B0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9208" y="4617223"/>
            <a:ext cx="8172000" cy="76041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headline Lorem</a:t>
            </a:r>
            <a:br>
              <a:rPr lang="en-US" noProof="0"/>
            </a:br>
            <a:r>
              <a:rPr lang="en-US" noProof="0"/>
              <a:t>Second Line Ipsum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B4B87E25-1972-4BA3-9017-8F6223934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465385" y="1240611"/>
            <a:ext cx="4759569" cy="3213100"/>
          </a:xfrm>
        </p:spPr>
        <p:txBody>
          <a:bodyPr anchor="ctr"/>
          <a:lstStyle>
            <a:lvl1pPr marL="0" indent="0" algn="r">
              <a:buNone/>
              <a:defRPr sz="28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0</a:t>
            </a:r>
          </a:p>
        </p:txBody>
      </p:sp>
      <p:pic>
        <p:nvPicPr>
          <p:cNvPr id="11" name="Bildplatzhalter 2">
            <a:extLst>
              <a:ext uri="{FF2B5EF4-FFF2-40B4-BE49-F238E27FC236}">
                <a16:creationId xmlns:a16="http://schemas.microsoft.com/office/drawing/2014/main" id="{4652E065-26AB-4D32-AD4B-7D6654BA45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23" b="423"/>
          <a:stretch>
            <a:fillRect/>
          </a:stretch>
        </p:blipFill>
        <p:spPr>
          <a:xfrm>
            <a:off x="547973" y="6336000"/>
            <a:ext cx="691963" cy="4161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966241EC-1F6C-4DFF-A801-765F63FC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63451" b="40254"/>
          <a:stretch/>
        </p:blipFill>
        <p:spPr>
          <a:xfrm>
            <a:off x="2103542" y="6332285"/>
            <a:ext cx="502060" cy="3227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6E1B3BA-9ED0-42A8-BC30-BB3E7634A2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08" y="6332638"/>
            <a:ext cx="1118633" cy="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28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CDD4DE-4C38-22C4-8C41-F6D5FB68C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1600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CDD4DE-4C38-22C4-8C41-F6D5FB68C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  <a:p>
            <a:pPr lvl="5"/>
            <a:r>
              <a:rPr lang="en-US" noProof="0" err="1"/>
              <a:t>Sixith</a:t>
            </a:r>
            <a:r>
              <a:rPr lang="en-US" noProof="0"/>
              <a:t> list level</a:t>
            </a:r>
          </a:p>
          <a:p>
            <a:pPr lvl="6"/>
            <a:r>
              <a:rPr lang="en-US" noProof="0"/>
              <a:t>Seventh list level</a:t>
            </a:r>
          </a:p>
          <a:p>
            <a:pPr lvl="7"/>
            <a:r>
              <a:rPr lang="en-US" noProof="0"/>
              <a:t>Eighth list level</a:t>
            </a:r>
          </a:p>
          <a:p>
            <a:pPr lvl="8"/>
            <a:r>
              <a:rPr lang="en-US" noProof="0"/>
              <a:t>Nineth list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BB927A7-872E-4AF2-ADC2-0F2BEFE7C9CF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9C9386"/>
                </a:solidFill>
              </a:rPr>
              <a:t>Data Analytics | Prof. Dr. Wolfgang Kratsch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5311BF2-399B-4E20-86E1-6FEB121ED8A8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661223" y="407194"/>
            <a:ext cx="973932" cy="589885"/>
          </a:xfrm>
          <a:prstGeom prst="rect">
            <a:avLst/>
          </a:prstGeom>
        </p:spPr>
      </p:pic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D06A65C-3581-492C-AEF3-90FE2AEF761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0B931EC-7E5C-48C6-80B7-0CC82EFDCDA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887B645-F71C-4E23-8E0E-ECB932E3FC7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8716FE8A-2A1D-4572-AF19-9EBF0D174BB5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</p:spTree>
    <p:extLst>
      <p:ext uri="{BB962C8B-B14F-4D97-AF65-F5344CB8AC3E}">
        <p14:creationId xmlns:p14="http://schemas.microsoft.com/office/powerpoint/2010/main" val="3310380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3975" r:id="rId2"/>
    <p:sldLayoutId id="2147483997" r:id="rId3"/>
    <p:sldLayoutId id="2147483945" r:id="rId4"/>
    <p:sldLayoutId id="2147484056" r:id="rId5"/>
    <p:sldLayoutId id="2147483946" r:id="rId6"/>
    <p:sldLayoutId id="2147484057" r:id="rId7"/>
    <p:sldLayoutId id="2147483947" r:id="rId8"/>
    <p:sldLayoutId id="2147483948" r:id="rId9"/>
    <p:sldLayoutId id="2147484029" r:id="rId10"/>
    <p:sldLayoutId id="2147484030" r:id="rId11"/>
    <p:sldLayoutId id="2147484031" r:id="rId12"/>
    <p:sldLayoutId id="2147484034" r:id="rId13"/>
    <p:sldLayoutId id="2147484035" r:id="rId14"/>
    <p:sldLayoutId id="2147484036" r:id="rId15"/>
    <p:sldLayoutId id="2147484037" r:id="rId16"/>
    <p:sldLayoutId id="2147483959" r:id="rId17"/>
    <p:sldLayoutId id="2147483960" r:id="rId18"/>
    <p:sldLayoutId id="2147483963" r:id="rId19"/>
    <p:sldLayoutId id="2147484048" r:id="rId20"/>
    <p:sldLayoutId id="2147484049" r:id="rId21"/>
    <p:sldLayoutId id="2147483964" r:id="rId22"/>
    <p:sldLayoutId id="2147484093" r:id="rId23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75D50384-E3FC-40F9-9015-B304134A640A}"/>
              </a:ext>
            </a:extLst>
          </p:cNvPr>
          <p:cNvSpPr/>
          <p:nvPr userDrawn="1"/>
        </p:nvSpPr>
        <p:spPr>
          <a:xfrm>
            <a:off x="0" y="1236250"/>
            <a:ext cx="12192000" cy="56217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12700" dir="16200000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itelplatzhalter 9">
            <a:extLst>
              <a:ext uri="{FF2B5EF4-FFF2-40B4-BE49-F238E27FC236}">
                <a16:creationId xmlns:a16="http://schemas.microsoft.com/office/drawing/2014/main" id="{EBF5AABB-91AB-42A6-ACAF-01AFA8D23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00" y="407199"/>
            <a:ext cx="8052580" cy="6381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Title Slide Lorem</a:t>
            </a:r>
            <a:br>
              <a:rPr lang="en-US" noProof="0"/>
            </a:br>
            <a:r>
              <a:rPr lang="en-US" noProof="0"/>
              <a:t>Second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B00A917-7FEE-4539-BEB6-A05D3A39D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00" y="1449393"/>
            <a:ext cx="1108800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ist level</a:t>
            </a:r>
          </a:p>
          <a:p>
            <a:pPr lvl="2"/>
            <a:r>
              <a:rPr lang="en-US" noProof="0"/>
              <a:t>Third list level</a:t>
            </a:r>
          </a:p>
          <a:p>
            <a:pPr lvl="3"/>
            <a:r>
              <a:rPr lang="en-US" noProof="0"/>
              <a:t>Fourth list level</a:t>
            </a:r>
          </a:p>
          <a:p>
            <a:pPr lvl="4"/>
            <a:r>
              <a:rPr lang="en-US" noProof="0"/>
              <a:t>Fifth list level</a:t>
            </a:r>
          </a:p>
          <a:p>
            <a:pPr lvl="5"/>
            <a:r>
              <a:rPr lang="en-US" noProof="0"/>
              <a:t>Sixith list level</a:t>
            </a:r>
          </a:p>
          <a:p>
            <a:pPr lvl="6"/>
            <a:r>
              <a:rPr lang="en-US" noProof="0"/>
              <a:t>Seventh list level</a:t>
            </a:r>
          </a:p>
          <a:p>
            <a:pPr lvl="7"/>
            <a:r>
              <a:rPr lang="en-US" noProof="0"/>
              <a:t>Eighth list level</a:t>
            </a:r>
          </a:p>
          <a:p>
            <a:pPr lvl="8"/>
            <a:r>
              <a:rPr lang="en-US" noProof="0"/>
              <a:t>Nineth list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744D047-DBE7-4837-9765-21AD21D3E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00" y="6584720"/>
            <a:ext cx="777407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05A047F-B525-4326-9804-CD307C84DB71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64AAEA56-5A85-4B03-A52E-6C67C5CF4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66986" y="6584720"/>
            <a:ext cx="9058033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/>
              <a:t>Data Analytics | Prof. Dr. Wolfgang Kratsch</a:t>
            </a:r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435A9C5-FF72-442B-99AC-40BB79941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4000" y="6584720"/>
            <a:ext cx="304800" cy="1396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64647E8F-5052-4581-98D0-7C32D5A45346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63709E5-1A75-444F-B4BE-2340C4E06744}"/>
              </a:ext>
            </a:extLst>
          </p:cNvPr>
          <p:cNvCxnSpPr/>
          <p:nvPr userDrawn="1"/>
        </p:nvCxnSpPr>
        <p:spPr>
          <a:xfrm flipH="1">
            <a:off x="-467201" y="409181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03EDCA-8C9C-4EF3-A61D-BA419E16438B}"/>
              </a:ext>
            </a:extLst>
          </p:cNvPr>
          <p:cNvSpPr txBox="1"/>
          <p:nvPr userDrawn="1"/>
        </p:nvSpPr>
        <p:spPr>
          <a:xfrm>
            <a:off x="-472831" y="445694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B547E8B-D79C-422A-81DC-5E5DF91B7B52}"/>
              </a:ext>
            </a:extLst>
          </p:cNvPr>
          <p:cNvCxnSpPr/>
          <p:nvPr userDrawn="1"/>
        </p:nvCxnSpPr>
        <p:spPr>
          <a:xfrm flipH="1">
            <a:off x="-467201" y="983775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F825E4A-066A-42F8-887C-683D950C5AF1}"/>
              </a:ext>
            </a:extLst>
          </p:cNvPr>
          <p:cNvSpPr txBox="1"/>
          <p:nvPr userDrawn="1"/>
        </p:nvSpPr>
        <p:spPr>
          <a:xfrm>
            <a:off x="-472831" y="1020288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80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0AD2466-4DA2-4326-AE10-6602EA720ED2}"/>
              </a:ext>
            </a:extLst>
          </p:cNvPr>
          <p:cNvCxnSpPr/>
          <p:nvPr userDrawn="1"/>
        </p:nvCxnSpPr>
        <p:spPr>
          <a:xfrm flipH="1">
            <a:off x="-467201" y="1236162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8AE78C6-42DF-4818-AF8A-7528F1898AC3}"/>
              </a:ext>
            </a:extLst>
          </p:cNvPr>
          <p:cNvSpPr txBox="1"/>
          <p:nvPr userDrawn="1"/>
        </p:nvSpPr>
        <p:spPr>
          <a:xfrm>
            <a:off x="-472831" y="1272675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,10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1A28321-A51B-4143-A2E7-579B4C54E816}"/>
              </a:ext>
            </a:extLst>
          </p:cNvPr>
          <p:cNvCxnSpPr/>
          <p:nvPr userDrawn="1"/>
        </p:nvCxnSpPr>
        <p:spPr>
          <a:xfrm flipH="1">
            <a:off x="-467201" y="1451084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02EE2369-B400-4488-95B0-A229AF97E1D5}"/>
              </a:ext>
            </a:extLst>
          </p:cNvPr>
          <p:cNvSpPr txBox="1"/>
          <p:nvPr userDrawn="1"/>
        </p:nvSpPr>
        <p:spPr>
          <a:xfrm>
            <a:off x="-472831" y="1487597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,50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223C8355-B0EC-44B3-9155-690CB075862B}"/>
              </a:ext>
            </a:extLst>
          </p:cNvPr>
          <p:cNvCxnSpPr/>
          <p:nvPr userDrawn="1"/>
        </p:nvCxnSpPr>
        <p:spPr>
          <a:xfrm flipH="1">
            <a:off x="-467201" y="620250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468E3FFC-697F-4F9E-B707-E0EBB27D5EEB}"/>
              </a:ext>
            </a:extLst>
          </p:cNvPr>
          <p:cNvSpPr txBox="1"/>
          <p:nvPr userDrawn="1"/>
        </p:nvSpPr>
        <p:spPr>
          <a:xfrm>
            <a:off x="-472831" y="623902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,70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0A5EA9C0-7BE5-4536-A653-A86353CE4396}"/>
              </a:ext>
            </a:extLst>
          </p:cNvPr>
          <p:cNvCxnSpPr/>
          <p:nvPr userDrawn="1"/>
        </p:nvCxnSpPr>
        <p:spPr>
          <a:xfrm flipH="1">
            <a:off x="-467201" y="6454568"/>
            <a:ext cx="44571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C584EB1C-8DF8-4788-AE49-C41F66462D0F}"/>
              </a:ext>
            </a:extLst>
          </p:cNvPr>
          <p:cNvSpPr txBox="1"/>
          <p:nvPr userDrawn="1"/>
        </p:nvSpPr>
        <p:spPr>
          <a:xfrm>
            <a:off x="-472831" y="6491081"/>
            <a:ext cx="357553" cy="1333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,40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5311BF2-399B-4E20-86E1-6FEB121ED8A8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661223" y="407194"/>
            <a:ext cx="973932" cy="589885"/>
          </a:xfrm>
          <a:prstGeom prst="rect">
            <a:avLst/>
          </a:prstGeom>
        </p:spPr>
      </p:pic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D06A65C-3581-492C-AEF3-90FE2AEF761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49707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C0B931EC-7E5C-48C6-80B7-0CC82EFDCDA2}"/>
              </a:ext>
            </a:extLst>
          </p:cNvPr>
          <p:cNvSpPr txBox="1"/>
          <p:nvPr userDrawn="1"/>
        </p:nvSpPr>
        <p:spPr>
          <a:xfrm rot="5400000">
            <a:off x="293079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887B645-F71C-4E23-8E0E-ECB932E3FC7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1640979" y="-322265"/>
            <a:ext cx="1" cy="30956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8716FE8A-2A1D-4572-AF19-9EBF0D174BB5}"/>
              </a:ext>
            </a:extLst>
          </p:cNvPr>
          <p:cNvSpPr txBox="1"/>
          <p:nvPr userDrawn="1"/>
        </p:nvSpPr>
        <p:spPr>
          <a:xfrm rot="5400000">
            <a:off x="11384351" y="-258275"/>
            <a:ext cx="290512" cy="1641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,40</a:t>
            </a:r>
          </a:p>
        </p:txBody>
      </p:sp>
    </p:spTree>
    <p:extLst>
      <p:ext uri="{BB962C8B-B14F-4D97-AF65-F5344CB8AC3E}">
        <p14:creationId xmlns:p14="http://schemas.microsoft.com/office/powerpoint/2010/main" val="3310380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92" r:id="rId21"/>
    <p:sldLayoutId id="2147484091" r:id="rId22"/>
    <p:sldLayoutId id="2147484090" r:id="rId23"/>
    <p:sldLayoutId id="2147484088" r:id="rId24"/>
    <p:sldLayoutId id="2147484089" r:id="rId25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rgbClr val="4B4B4B"/>
          </a:solidFill>
          <a:latin typeface="+mn-lt"/>
          <a:ea typeface="+mn-ea"/>
          <a:cs typeface="+mn-cs"/>
        </a:defRPr>
      </a:lvl1pPr>
      <a:lvl2pPr marL="396000" indent="-185738" algn="l" defTabSz="742950" rtl="0" eaLnBrk="1" latinLnBrk="0" hangingPunct="1">
        <a:lnSpc>
          <a:spcPct val="100000"/>
        </a:lnSpc>
        <a:spcBef>
          <a:spcPts val="600"/>
        </a:spcBef>
        <a:buFont typeface="Trebuchet MS" panose="020B0603020202020204" pitchFamily="34" charset="0"/>
        <a:buChar char="−"/>
        <a:defRPr sz="1400" kern="1200">
          <a:solidFill>
            <a:srgbClr val="4B4B4B"/>
          </a:solidFill>
          <a:latin typeface="+mn-lt"/>
          <a:ea typeface="+mn-ea"/>
          <a:cs typeface="+mn-cs"/>
        </a:defRPr>
      </a:lvl2pPr>
      <a:lvl3pPr marL="612000" indent="-185738" algn="l" defTabSz="74295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rgbClr val="4B4B4B"/>
          </a:solidFill>
          <a:latin typeface="+mn-lt"/>
          <a:ea typeface="+mn-ea"/>
          <a:cs typeface="+mn-cs"/>
        </a:defRPr>
      </a:lvl3pPr>
      <a:lvl4pPr marL="82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»"/>
        <a:defRPr sz="1100" kern="1200">
          <a:solidFill>
            <a:srgbClr val="4B4B4B"/>
          </a:solidFill>
          <a:latin typeface="+mn-lt"/>
          <a:ea typeface="+mn-ea"/>
          <a:cs typeface="+mn-cs"/>
        </a:defRPr>
      </a:lvl4pPr>
      <a:lvl5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›"/>
        <a:defRPr sz="1100" kern="1200">
          <a:solidFill>
            <a:srgbClr val="4B4B4B"/>
          </a:solidFill>
          <a:latin typeface="+mn-lt"/>
          <a:ea typeface="+mn-ea"/>
          <a:cs typeface="+mn-cs"/>
        </a:defRPr>
      </a:lvl5pPr>
      <a:lvl6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&gt;"/>
        <a:defRPr sz="1100" kern="1200">
          <a:solidFill>
            <a:srgbClr val="4B4B4B"/>
          </a:solidFill>
          <a:latin typeface="+mn-lt"/>
          <a:ea typeface="+mn-ea"/>
          <a:cs typeface="+mn-cs"/>
        </a:defRPr>
      </a:lvl6pPr>
      <a:lvl7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Trebuchet MS" panose="020B0603020202020204" pitchFamily="34" charset="0"/>
        <a:buChar char="¬"/>
        <a:defRPr sz="1100" kern="1200">
          <a:solidFill>
            <a:srgbClr val="4B4B4B"/>
          </a:solidFill>
          <a:latin typeface="+mn-lt"/>
          <a:ea typeface="+mn-ea"/>
          <a:cs typeface="+mn-cs"/>
        </a:defRPr>
      </a:lvl7pPr>
      <a:lvl8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25000"/>
        <a:buFont typeface="Courier New" panose="02070309020205020404" pitchFamily="49" charset="0"/>
        <a:buChar char="o"/>
        <a:defRPr sz="1100" kern="1200">
          <a:solidFill>
            <a:srgbClr val="4B4B4B"/>
          </a:solidFill>
          <a:latin typeface="+mn-lt"/>
          <a:ea typeface="+mn-ea"/>
          <a:cs typeface="+mn-cs"/>
        </a:defRPr>
      </a:lvl8pPr>
      <a:lvl9pPr marL="1008000" indent="-185738" algn="l" defTabSz="742950" rtl="0" eaLnBrk="1" latinLnBrk="0" hangingPunct="1">
        <a:lnSpc>
          <a:spcPct val="100000"/>
        </a:lnSpc>
        <a:spcBef>
          <a:spcPts val="600"/>
        </a:spcBef>
        <a:buSzPct val="150000"/>
        <a:buFont typeface="Trebuchet MS" panose="020B0603020202020204" pitchFamily="34" charset="0"/>
        <a:buChar char="▫"/>
        <a:defRPr sz="1100" kern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618">
          <p15:clr>
            <a:srgbClr val="F26B43"/>
          </p15:clr>
        </p15:guide>
        <p15:guide id="8" orient="horz" pos="777">
          <p15:clr>
            <a:srgbClr val="F26B43"/>
          </p15:clr>
        </p15:guide>
        <p15:guide id="9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F2706C-D7BC-C1E1-AE26-766C66031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12C85D-D3AD-FD75-EA1F-44363D796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683E5-923C-44F1-BD47-07514E4C1C94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7AEA33-6084-2F0B-E1C9-072A73772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8484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noProof="0" smtClean="0"/>
              <a:pPr/>
              <a:t>1</a:t>
            </a:fld>
            <a:endParaRPr lang="en-US" noProof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04B252D-C359-3678-3D86-53273FEE9ED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Used to predict the probability of a binary or categorical variable</a:t>
            </a:r>
          </a:p>
          <a:p>
            <a:r>
              <a:rPr lang="en-US" dirty="0"/>
              <a:t>Cancer/No cancer, Buy/No buy, probability of a heart attack, …</a:t>
            </a:r>
          </a:p>
          <a:p>
            <a:r>
              <a:rPr lang="en-US" dirty="0"/>
              <a:t>Predicted values in a probability range between 0 and 1</a:t>
            </a:r>
          </a:p>
          <a:p>
            <a:r>
              <a:rPr lang="en-US" dirty="0"/>
              <a:t>One or multiple independent variables(predictors)</a:t>
            </a:r>
          </a:p>
          <a:p>
            <a:r>
              <a:rPr lang="en-US" dirty="0"/>
              <a:t>Inappropriate when: non-linear relationship, missing data, outliers,</a:t>
            </a:r>
          </a:p>
          <a:p>
            <a:pPr marL="0" indent="0">
              <a:buNone/>
            </a:pPr>
            <a:r>
              <a:rPr lang="en-US" dirty="0"/>
              <a:t>		       multicollinearity, small sample size</a:t>
            </a:r>
          </a:p>
          <a:p>
            <a:pPr marL="822262" lvl="5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does the model work?</a:t>
            </a:r>
          </a:p>
          <a:p>
            <a:r>
              <a:rPr lang="en-US" dirty="0"/>
              <a:t>When it should/should not be applied?</a:t>
            </a:r>
          </a:p>
          <a:p>
            <a:r>
              <a:rPr lang="en-US" dirty="0"/>
              <a:t>Basic example/illustration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D82415D-908F-8EE0-6818-8AF970183862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023" y="6191444"/>
            <a:ext cx="267484" cy="144463"/>
          </a:xfr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EAB4B0-BC1A-3E9C-E57C-36B02F53BD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2365743-51DC-35F7-81D4-B630773826D9}"/>
              </a:ext>
            </a:extLst>
          </p:cNvPr>
          <p:cNvSpPr txBox="1"/>
          <p:nvPr/>
        </p:nvSpPr>
        <p:spPr>
          <a:xfrm>
            <a:off x="7404163" y="1506512"/>
            <a:ext cx="4194107" cy="183997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Learning Strategy:</a:t>
            </a:r>
          </a:p>
          <a:p>
            <a:pPr algn="l"/>
            <a:r>
              <a:rPr lang="en-US" sz="1400" dirty="0">
                <a:solidFill>
                  <a:srgbClr val="4B4B4B"/>
                </a:solidFill>
              </a:rPr>
              <a:t>	Supervised Learning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4B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Analytics Target:</a:t>
            </a:r>
          </a:p>
          <a:p>
            <a:pPr lvl="1"/>
            <a:r>
              <a:rPr lang="en-US" sz="1400" dirty="0">
                <a:solidFill>
                  <a:srgbClr val="4B4B4B"/>
                </a:solidFill>
              </a:rPr>
              <a:t>	Classify observations into one of</a:t>
            </a:r>
          </a:p>
          <a:p>
            <a:pPr lvl="1"/>
            <a:r>
              <a:rPr lang="en-US" sz="1400" dirty="0">
                <a:solidFill>
                  <a:srgbClr val="4B4B4B"/>
                </a:solidFill>
              </a:rPr>
              <a:t>	two categories	</a:t>
            </a:r>
          </a:p>
          <a:p>
            <a:pPr algn="l"/>
            <a:endParaRPr lang="en-US" sz="1400" dirty="0">
              <a:solidFill>
                <a:srgbClr val="4B4B4B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US" sz="1400" dirty="0">
              <a:solidFill>
                <a:srgbClr val="4B4B4B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E41F4B-3C62-4BAA-F146-E864A37A57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40" y="3419669"/>
            <a:ext cx="6079280" cy="328329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FBDAA35-0BC5-ED02-0FFB-871A0AA14248}"/>
              </a:ext>
            </a:extLst>
          </p:cNvPr>
          <p:cNvSpPr txBox="1"/>
          <p:nvPr/>
        </p:nvSpPr>
        <p:spPr>
          <a:xfrm>
            <a:off x="5397759" y="2803849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 err="1">
              <a:solidFill>
                <a:srgbClr val="4B4B4B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F7751F-D25C-D0F6-3BBE-4718D47CC50D}"/>
              </a:ext>
            </a:extLst>
          </p:cNvPr>
          <p:cNvSpPr txBox="1"/>
          <p:nvPr/>
        </p:nvSpPr>
        <p:spPr>
          <a:xfrm>
            <a:off x="6995111" y="4796096"/>
            <a:ext cx="2009341" cy="15164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2100" b="1" i="0" dirty="0">
                <a:solidFill>
                  <a:srgbClr val="FF9933"/>
                </a:solidFill>
                <a:effectLst/>
                <a:latin typeface="Söhne"/>
              </a:rPr>
              <a:t>logit(p) = </a:t>
            </a:r>
            <a:r>
              <a:rPr lang="el-GR" sz="2100" b="1" i="0" dirty="0">
                <a:solidFill>
                  <a:srgbClr val="FF9933"/>
                </a:solidFill>
                <a:effectLst/>
                <a:latin typeface="Söhne"/>
              </a:rPr>
              <a:t>β0 + β1</a:t>
            </a:r>
            <a:r>
              <a:rPr lang="en-US" sz="2100" b="1" i="0" dirty="0">
                <a:solidFill>
                  <a:srgbClr val="FF9933"/>
                </a:solidFill>
                <a:effectLst/>
                <a:latin typeface="Söhne"/>
              </a:rPr>
              <a:t>x1 + </a:t>
            </a:r>
            <a:r>
              <a:rPr lang="el-GR" sz="2100" b="1" i="0" dirty="0">
                <a:solidFill>
                  <a:srgbClr val="FF9933"/>
                </a:solidFill>
                <a:effectLst/>
                <a:latin typeface="Söhne"/>
              </a:rPr>
              <a:t>β2</a:t>
            </a:r>
            <a:r>
              <a:rPr lang="en-US" sz="2100" b="1" i="0" dirty="0">
                <a:solidFill>
                  <a:srgbClr val="FF9933"/>
                </a:solidFill>
                <a:effectLst/>
                <a:latin typeface="Söhne"/>
              </a:rPr>
              <a:t>x2 + ... + </a:t>
            </a:r>
            <a:r>
              <a:rPr lang="el-GR" sz="2100" b="1" i="0" dirty="0">
                <a:solidFill>
                  <a:srgbClr val="FF9933"/>
                </a:solidFill>
                <a:effectLst/>
                <a:latin typeface="Söhne"/>
              </a:rPr>
              <a:t>β</a:t>
            </a:r>
            <a:r>
              <a:rPr lang="en-US" sz="2100" b="1" i="0" dirty="0" err="1">
                <a:solidFill>
                  <a:srgbClr val="FF9933"/>
                </a:solidFill>
                <a:effectLst/>
                <a:latin typeface="Söhne"/>
              </a:rPr>
              <a:t>nxn</a:t>
            </a:r>
            <a:endParaRPr lang="en-US" sz="2100" b="1" i="0" dirty="0">
              <a:solidFill>
                <a:srgbClr val="FF9933"/>
              </a:solidFill>
              <a:effectLst/>
              <a:latin typeface="Söhne"/>
            </a:endParaRPr>
          </a:p>
          <a:p>
            <a:pPr algn="l"/>
            <a:endParaRPr lang="en-US" sz="1500" b="1" dirty="0">
              <a:solidFill>
                <a:srgbClr val="FF9933"/>
              </a:solidFill>
              <a:latin typeface="Söhne"/>
            </a:endParaRPr>
          </a:p>
          <a:p>
            <a:r>
              <a:rPr lang="en-US" sz="1500" dirty="0"/>
              <a:t>P: probability</a:t>
            </a:r>
            <a:endParaRPr lang="en-US" sz="1500" b="1" dirty="0">
              <a:solidFill>
                <a:srgbClr val="FF9933"/>
              </a:solidFill>
              <a:latin typeface="Söhne"/>
            </a:endParaRPr>
          </a:p>
          <a:p>
            <a:r>
              <a:rPr lang="el-GR" sz="1500" dirty="0"/>
              <a:t>Β</a:t>
            </a:r>
            <a:r>
              <a:rPr lang="en-US" sz="1500" dirty="0"/>
              <a:t>0: intercept</a:t>
            </a:r>
          </a:p>
          <a:p>
            <a:r>
              <a:rPr lang="el-GR" sz="1500" dirty="0"/>
              <a:t>Β</a:t>
            </a:r>
            <a:r>
              <a:rPr lang="en-US" sz="1500" dirty="0"/>
              <a:t>1, …, βn: coefficients of the </a:t>
            </a:r>
            <a:r>
              <a:rPr lang="en-US" sz="1500"/>
              <a:t>independent variables</a:t>
            </a:r>
            <a:endParaRPr lang="en-US" sz="1500" b="1" dirty="0">
              <a:solidFill>
                <a:srgbClr val="FF9933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EC0D386-2293-1D71-4774-25B9BF3FF1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111" y="3992157"/>
            <a:ext cx="2620531" cy="69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966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F2706C-D7BC-C1E1-AE26-766C66031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stic Regress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12C85D-D3AD-FD75-EA1F-44363D796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683E5-923C-44F1-BD47-07514E4C1C94}" type="datetime1">
              <a:rPr lang="de-DE" noProof="0" smtClean="0"/>
              <a:t>13.04.2023</a:t>
            </a:fld>
            <a:endParaRPr lang="en-U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7AEA33-6084-2F0B-E1C9-072A73772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8484" y="6584720"/>
            <a:ext cx="304800" cy="139606"/>
          </a:xfrm>
        </p:spPr>
        <p:txBody>
          <a:bodyPr/>
          <a:lstStyle/>
          <a:p>
            <a:fld id="{64647E8F-5052-4581-98D0-7C32D5A45346}" type="slidenum">
              <a:rPr lang="en-US" noProof="0" smtClean="0"/>
              <a:pPr/>
              <a:t>2</a:t>
            </a:fld>
            <a:endParaRPr lang="en-US" noProof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545904D-B4B2-95AB-0609-6AE014AEC309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717" y="1574858"/>
            <a:ext cx="8266566" cy="4673973"/>
          </a:xfr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D82415D-908F-8EE0-6818-8AF970183862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023" y="6191444"/>
            <a:ext cx="267484" cy="144463"/>
          </a:xfr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EAB4B0-BC1A-3E9C-E57C-36B02F53BD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889194"/>
                </a:solidFill>
              </a:rPr>
              <a:t>Data Analytics | Prof. Dr. Wolfgang Kratsch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BDAA35-0BC5-ED02-0FFB-871A0AA14248}"/>
              </a:ext>
            </a:extLst>
          </p:cNvPr>
          <p:cNvSpPr txBox="1"/>
          <p:nvPr/>
        </p:nvSpPr>
        <p:spPr>
          <a:xfrm>
            <a:off x="5397759" y="2803849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en-US" sz="1400" dirty="0" err="1">
              <a:solidFill>
                <a:srgbClr val="4B4B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2DC1EB-277A-C641-6E05-DF10BB3D28B2}"/>
              </a:ext>
            </a:extLst>
          </p:cNvPr>
          <p:cNvSpPr txBox="1"/>
          <p:nvPr/>
        </p:nvSpPr>
        <p:spPr>
          <a:xfrm>
            <a:off x="774441" y="1233488"/>
            <a:ext cx="45719" cy="457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en-US" sz="1400" dirty="0" err="1">
              <a:solidFill>
                <a:srgbClr val="4B4B4B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962694-7BA7-0F69-EF67-54AD7DDD2DE6}"/>
              </a:ext>
            </a:extLst>
          </p:cNvPr>
          <p:cNvSpPr txBox="1"/>
          <p:nvPr/>
        </p:nvSpPr>
        <p:spPr>
          <a:xfrm>
            <a:off x="550863" y="1231174"/>
            <a:ext cx="2649894" cy="36389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4B4B4B"/>
                </a:solidFill>
              </a:rPr>
              <a:t>How to apply using </a:t>
            </a:r>
            <a:r>
              <a:rPr lang="en-US" sz="1400" dirty="0" err="1">
                <a:solidFill>
                  <a:srgbClr val="4B4B4B"/>
                </a:solidFill>
              </a:rPr>
              <a:t>sklearn</a:t>
            </a:r>
            <a:r>
              <a:rPr lang="en-US" sz="1400" dirty="0">
                <a:solidFill>
                  <a:srgbClr val="4B4B4B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796286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chschule Augsburg">
  <a:themeElements>
    <a:clrScheme name="HSA">
      <a:dk1>
        <a:srgbClr val="000000"/>
      </a:dk1>
      <a:lt1>
        <a:srgbClr val="FFFFFF"/>
      </a:lt1>
      <a:dk2>
        <a:srgbClr val="F18700"/>
      </a:dk2>
      <a:lt2>
        <a:srgbClr val="D9D9D9"/>
      </a:lt2>
      <a:accent1>
        <a:srgbClr val="E50055"/>
      </a:accent1>
      <a:accent2>
        <a:srgbClr val="92887A"/>
      </a:accent2>
      <a:accent3>
        <a:srgbClr val="766E61"/>
      </a:accent3>
      <a:accent4>
        <a:srgbClr val="457E9F"/>
      </a:accent4>
      <a:accent5>
        <a:srgbClr val="179C7D"/>
      </a:accent5>
      <a:accent6>
        <a:srgbClr val="B10034"/>
      </a:accent6>
      <a:hlink>
        <a:srgbClr val="F18700"/>
      </a:hlink>
      <a:folHlink>
        <a:srgbClr val="E50055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M_Folienmaster_16x9_EN.potx" id="{EDEB0684-86FF-4BA6-BF78-55629FA41074}" vid="{13CEF533-DF10-450E-A627-63146B440AFC}"/>
    </a:ext>
  </a:extLst>
</a:theme>
</file>

<file path=ppt/theme/theme2.xml><?xml version="1.0" encoding="utf-8"?>
<a:theme xmlns:a="http://schemas.openxmlformats.org/drawingml/2006/main" name="Hochschule Augsburg">
  <a:themeElements>
    <a:clrScheme name="HSA">
      <a:dk1>
        <a:srgbClr val="000000"/>
      </a:dk1>
      <a:lt1>
        <a:srgbClr val="FFFFFF"/>
      </a:lt1>
      <a:dk2>
        <a:srgbClr val="F18700"/>
      </a:dk2>
      <a:lt2>
        <a:srgbClr val="D9D9D9"/>
      </a:lt2>
      <a:accent1>
        <a:srgbClr val="E50055"/>
      </a:accent1>
      <a:accent2>
        <a:srgbClr val="92887A"/>
      </a:accent2>
      <a:accent3>
        <a:srgbClr val="766E61"/>
      </a:accent3>
      <a:accent4>
        <a:srgbClr val="457E9F"/>
      </a:accent4>
      <a:accent5>
        <a:srgbClr val="179C7D"/>
      </a:accent5>
      <a:accent6>
        <a:srgbClr val="B10034"/>
      </a:accent6>
      <a:hlink>
        <a:srgbClr val="F18700"/>
      </a:hlink>
      <a:folHlink>
        <a:srgbClr val="E50055"/>
      </a:folHlink>
    </a:clrScheme>
    <a:fontScheme name="fim/fi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85750" indent="-285750" algn="l">
          <a:buFont typeface="Wingdings" panose="05000000000000000000" pitchFamily="2" charset="2"/>
          <a:buChar char="§"/>
          <a:defRPr sz="1400" dirty="0" err="1" smtClean="0">
            <a:solidFill>
              <a:srgbClr val="4B4B4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M_Folienmaster_16x9_EN.potx" id="{EDEB0684-86FF-4BA6-BF78-55629FA41074}" vid="{13CEF533-DF10-450E-A627-63146B440AF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F0C8D79651D7645B52F66E84B80D2D8" ma:contentTypeVersion="4" ma:contentTypeDescription="Ein neues Dokument erstellen." ma:contentTypeScope="" ma:versionID="947765ae318b7940c9cf872ad0817f66">
  <xsd:schema xmlns:xsd="http://www.w3.org/2001/XMLSchema" xmlns:xs="http://www.w3.org/2001/XMLSchema" xmlns:p="http://schemas.microsoft.com/office/2006/metadata/properties" xmlns:ns2="66b91739-0abb-4e97-a2e3-21349fcfcedd" targetNamespace="http://schemas.microsoft.com/office/2006/metadata/properties" ma:root="true" ma:fieldsID="19edd8b5ee802114d4dcaa714bbee3ff" ns2:_="">
    <xsd:import namespace="66b91739-0abb-4e97-a2e3-21349fcfce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b91739-0abb-4e97-a2e3-21349fcfce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BA62DE-A85D-42F2-9269-7C5BB32494CB}">
  <ds:schemaRefs>
    <ds:schemaRef ds:uri="http://purl.org/dc/elements/1.1/"/>
    <ds:schemaRef ds:uri="66b91739-0abb-4e97-a2e3-21349fcfcedd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AA1AC1C-FEE9-46FF-97E3-2D980C6A0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FEDC57-5F61-44C5-990E-9731E8986F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b91739-0abb-4e97-a2e3-21349fcfce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</TotalTime>
  <Words>170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Lucida Grande</vt:lpstr>
      <vt:lpstr>Söhne</vt:lpstr>
      <vt:lpstr>Arial</vt:lpstr>
      <vt:lpstr>Calibri</vt:lpstr>
      <vt:lpstr>Courier New</vt:lpstr>
      <vt:lpstr>Trebuchet MS</vt:lpstr>
      <vt:lpstr>Wingdings</vt:lpstr>
      <vt:lpstr>Hochschule Augsburg</vt:lpstr>
      <vt:lpstr>Hochschule Augsburg</vt:lpstr>
      <vt:lpstr>think-cell Folie</vt:lpstr>
      <vt:lpstr>Logistic Regression</vt:lpstr>
      <vt:lpstr>Logistic Regress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LIMCAT</dc:creator>
  <cp:keywords/>
  <dc:description/>
  <cp:lastModifiedBy>Lim Soyeon</cp:lastModifiedBy>
  <cp:revision>5</cp:revision>
  <dcterms:created xsi:type="dcterms:W3CDTF">2023-03-03T13:45:35Z</dcterms:created>
  <dcterms:modified xsi:type="dcterms:W3CDTF">2023-04-13T16:09:0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0C8D79651D7645B52F66E84B80D2D8</vt:lpwstr>
  </property>
  <property fmtid="{D5CDD505-2E9C-101B-9397-08002B2CF9AE}" pid="3" name="MediaServiceImageTags">
    <vt:lpwstr/>
  </property>
</Properties>
</file>